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546" r:id="rId2"/>
    <p:sldId id="579" r:id="rId3"/>
    <p:sldId id="556" r:id="rId4"/>
    <p:sldId id="581" r:id="rId5"/>
    <p:sldId id="583" r:id="rId6"/>
    <p:sldId id="584" r:id="rId7"/>
    <p:sldId id="585" r:id="rId8"/>
    <p:sldId id="580" r:id="rId9"/>
    <p:sldId id="586" r:id="rId10"/>
    <p:sldId id="587" r:id="rId11"/>
    <p:sldId id="588" r:id="rId12"/>
    <p:sldId id="589" r:id="rId13"/>
    <p:sldId id="590" r:id="rId14"/>
    <p:sldId id="591" r:id="rId15"/>
    <p:sldId id="592" r:id="rId16"/>
    <p:sldId id="593" r:id="rId17"/>
    <p:sldId id="594" r:id="rId18"/>
    <p:sldId id="601" r:id="rId19"/>
    <p:sldId id="596" r:id="rId20"/>
    <p:sldId id="597" r:id="rId21"/>
    <p:sldId id="598" r:id="rId22"/>
    <p:sldId id="599" r:id="rId23"/>
    <p:sldId id="260" r:id="rId24"/>
  </p:sldIdLst>
  <p:sldSz cx="9144000" cy="5143500" type="screen16x9"/>
  <p:notesSz cx="6858000" cy="9144000"/>
  <p:defaultTextStyle>
    <a:defPPr>
      <a:defRPr lang="ko-KR"/>
    </a:defPPr>
    <a:lvl1pPr marL="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FF"/>
    <a:srgbClr val="7F7F7F"/>
    <a:srgbClr val="B9D69A"/>
    <a:srgbClr val="B9D6A1"/>
    <a:srgbClr val="BAD6AC"/>
    <a:srgbClr val="93CEDE"/>
    <a:srgbClr val="92CCDD"/>
    <a:srgbClr val="97D2E4"/>
    <a:srgbClr val="B4C5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69" autoAdjust="0"/>
    <p:restoredTop sz="90295" autoAdjust="0"/>
  </p:normalViewPr>
  <p:slideViewPr>
    <p:cSldViewPr snapToGrid="0" snapToObjects="1">
      <p:cViewPr>
        <p:scale>
          <a:sx n="75" d="100"/>
          <a:sy n="75" d="100"/>
        </p:scale>
        <p:origin x="1328" y="308"/>
      </p:cViewPr>
      <p:guideLst>
        <p:guide orient="horz" pos="2160"/>
        <p:guide pos="384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69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1" d="100"/>
          <a:sy n="81" d="100"/>
        </p:scale>
        <p:origin x="2384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0B5C2A-8783-3B41-BE9B-58B16EFC91EC}" type="datetimeFigureOut">
              <a:rPr kumimoji="1" lang="ko-KR" altLang="en-US" smtClean="0"/>
              <a:t>2019-03-18</a:t>
            </a:fld>
            <a:endParaRPr kumimoji="1"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9A0325-E41E-704F-AACF-109EED766554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538532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929123-992E-0C48-A07D-B05DF080B928}" type="datetimeFigureOut">
              <a:rPr kumimoji="1" lang="ko-KR" altLang="en-US" smtClean="0"/>
              <a:t>2019-03-18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3F48E-0531-934E-BD15-F719ACEE986E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034544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1" name="직사각형 20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2" name="제목 1"/>
          <p:cNvSpPr>
            <a:spLocks noGrp="1"/>
          </p:cNvSpPr>
          <p:nvPr userDrawn="1">
            <p:ph type="ctrTitle"/>
          </p:nvPr>
        </p:nvSpPr>
        <p:spPr>
          <a:xfrm>
            <a:off x="257512" y="1145894"/>
            <a:ext cx="8578535" cy="2230928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  <p:sp>
        <p:nvSpPr>
          <p:cNvPr id="3" name="부제 2"/>
          <p:cNvSpPr>
            <a:spLocks noGrp="1"/>
          </p:cNvSpPr>
          <p:nvPr userDrawn="1">
            <p:ph type="subTitle" idx="1"/>
          </p:nvPr>
        </p:nvSpPr>
        <p:spPr>
          <a:xfrm>
            <a:off x="288687" y="3453810"/>
            <a:ext cx="8499946" cy="585755"/>
          </a:xfrm>
        </p:spPr>
        <p:txBody>
          <a:bodyPr anchor="t">
            <a:norm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7173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직사각형 13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8D8CDA1C-C8DB-6D4F-9A0E-253C3D190382}" type="datetime1">
              <a:rPr kumimoji="1" lang="ko-KR" altLang="en-US" smtClean="0"/>
              <a:pPr/>
              <a:t>2019-03-18</a:t>
            </a:fld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3" name="직사각형 2"/>
          <p:cNvSpPr/>
          <p:nvPr userDrawn="1"/>
        </p:nvSpPr>
        <p:spPr>
          <a:xfrm>
            <a:off x="3609064" y="1"/>
            <a:ext cx="5534937" cy="5143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3047" y="342900"/>
            <a:ext cx="3082970" cy="1200150"/>
          </a:xfrm>
        </p:spPr>
        <p:txBody>
          <a:bodyPr anchor="b">
            <a:noAutofit/>
          </a:bodyPr>
          <a:lstStyle>
            <a:lvl1pPr>
              <a:defRPr sz="7200" b="0">
                <a:solidFill>
                  <a:srgbClr val="00B0F0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63047" y="1543050"/>
            <a:ext cx="3082970" cy="3112622"/>
          </a:xfrm>
        </p:spPr>
        <p:txBody>
          <a:bodyPr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kumimoji="1" lang="ko-KR" altLang="en-US" dirty="0" smtClean="0"/>
              <a:t>마스터 텍스트 스타일을 편집하려면 클릭</a:t>
            </a:r>
          </a:p>
        </p:txBody>
      </p:sp>
      <p:sp>
        <p:nvSpPr>
          <p:cNvPr id="8" name="내용 개체 틀 3"/>
          <p:cNvSpPr>
            <a:spLocks noGrp="1"/>
          </p:cNvSpPr>
          <p:nvPr>
            <p:ph sz="half" idx="13"/>
          </p:nvPr>
        </p:nvSpPr>
        <p:spPr>
          <a:xfrm>
            <a:off x="3881120" y="1543050"/>
            <a:ext cx="4996702" cy="3115936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  <a:lvl2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2pPr>
            <a:lvl3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3pPr>
            <a:lvl4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4pPr>
            <a:lvl5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5pPr>
          </a:lstStyle>
          <a:p>
            <a:pPr lvl="0"/>
            <a:r>
              <a:rPr kumimoji="1" lang="ko-KR" altLang="en-US" dirty="0" smtClean="0"/>
              <a:t>마스터 텍스트 스타일을 편집하려면 클릭</a:t>
            </a:r>
          </a:p>
          <a:p>
            <a:pPr lvl="1"/>
            <a:r>
              <a:rPr kumimoji="1" lang="ko-KR" altLang="en-US" dirty="0" smtClean="0"/>
              <a:t>두 번째 수준</a:t>
            </a:r>
          </a:p>
          <a:p>
            <a:pPr lvl="2"/>
            <a:r>
              <a:rPr kumimoji="1" lang="ko-KR" altLang="en-US" dirty="0" smtClean="0"/>
              <a:t>세 번째 수준</a:t>
            </a:r>
          </a:p>
          <a:p>
            <a:pPr lvl="3"/>
            <a:r>
              <a:rPr kumimoji="1" lang="ko-KR" altLang="en-US" dirty="0" smtClean="0"/>
              <a:t>네 번째 수준</a:t>
            </a:r>
          </a:p>
          <a:p>
            <a:pPr lvl="4"/>
            <a:r>
              <a:rPr kumimoji="1" lang="ko-KR" altLang="en-US" dirty="0" smtClean="0"/>
              <a:t>다섯 번째 수준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0887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8346"/>
          <a:stretch/>
        </p:blipFill>
        <p:spPr>
          <a:xfrm>
            <a:off x="0" y="0"/>
            <a:ext cx="9144000" cy="599440"/>
          </a:xfrm>
          <a:prstGeom prst="rect">
            <a:avLst/>
          </a:prstGeom>
        </p:spPr>
      </p:pic>
      <p:sp>
        <p:nvSpPr>
          <p:cNvPr id="7" name="직사각형 6"/>
          <p:cNvSpPr/>
          <p:nvPr userDrawn="1"/>
        </p:nvSpPr>
        <p:spPr>
          <a:xfrm>
            <a:off x="0" y="1"/>
            <a:ext cx="9144000" cy="59943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3047" y="131883"/>
            <a:ext cx="8614775" cy="3659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3047" y="843280"/>
            <a:ext cx="8614775" cy="3814817"/>
          </a:xfrm>
        </p:spPr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  <a:lvl2pPr>
              <a:defRPr>
                <a:latin typeface="Malgun Gothic" charset="-127"/>
                <a:ea typeface="Malgun Gothic" charset="-127"/>
                <a:cs typeface="Malgun Gothic" charset="-127"/>
              </a:defRPr>
            </a:lvl2pPr>
            <a:lvl3pPr>
              <a:defRPr>
                <a:latin typeface="Malgun Gothic" charset="-127"/>
                <a:ea typeface="Malgun Gothic" charset="-127"/>
                <a:cs typeface="Malgun Gothic" charset="-127"/>
              </a:defRPr>
            </a:lvl3pPr>
            <a:lvl4pPr>
              <a:defRPr>
                <a:latin typeface="Malgun Gothic" charset="-127"/>
                <a:ea typeface="Malgun Gothic" charset="-127"/>
                <a:cs typeface="Malgun Gothic" charset="-127"/>
              </a:defRPr>
            </a:lvl4pPr>
            <a:lvl5pPr>
              <a:defRPr>
                <a:latin typeface="Malgun Gothic" charset="-127"/>
                <a:ea typeface="Malgun Gothic" charset="-127"/>
                <a:cs typeface="Malgun Gothic" charset="-127"/>
              </a:defRPr>
            </a:lvl5pPr>
          </a:lstStyle>
          <a:p>
            <a:pPr lvl="0"/>
            <a:r>
              <a:rPr kumimoji="1" lang="ko-KR" altLang="en-US" dirty="0" smtClean="0"/>
              <a:t>마스터 텍스트 스타일을 편집하려면 클릭</a:t>
            </a:r>
          </a:p>
          <a:p>
            <a:pPr lvl="1"/>
            <a:r>
              <a:rPr kumimoji="1" lang="ko-KR" altLang="en-US" dirty="0" smtClean="0"/>
              <a:t>두 번째 수준</a:t>
            </a:r>
          </a:p>
          <a:p>
            <a:pPr lvl="2"/>
            <a:r>
              <a:rPr kumimoji="1" lang="ko-KR" altLang="en-US" dirty="0" smtClean="0"/>
              <a:t>세 번째 수준</a:t>
            </a:r>
          </a:p>
          <a:p>
            <a:pPr lvl="3"/>
            <a:r>
              <a:rPr kumimoji="1" lang="ko-KR" altLang="en-US" dirty="0" smtClean="0"/>
              <a:t>네 번째 수준</a:t>
            </a:r>
          </a:p>
          <a:p>
            <a:pPr lvl="4"/>
            <a:r>
              <a:rPr kumimoji="1" lang="ko-KR" altLang="en-US" dirty="0" smtClean="0"/>
              <a:t>다섯 번째 수준</a:t>
            </a:r>
            <a:endParaRPr kumimoji="1"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061134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8346"/>
          <a:stretch/>
        </p:blipFill>
        <p:spPr>
          <a:xfrm>
            <a:off x="0" y="0"/>
            <a:ext cx="9144000" cy="599440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-1566" y="1"/>
            <a:ext cx="9144000" cy="59943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263047" y="131883"/>
            <a:ext cx="8614775" cy="3659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3311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백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9488588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백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EB63676D-564F-1F41-B1BC-15B553EC3540}" type="datetime1">
              <a:rPr kumimoji="1" lang="ko-KR" altLang="en-US" smtClean="0"/>
              <a:pPr/>
              <a:t>2019-03-18</a:t>
            </a:fld>
            <a:endParaRPr kumimoji="1"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263047" y="4767263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en-US" altLang="ko-KR" dirty="0" smtClean="0"/>
              <a:t>Team Tensor</a:t>
            </a:r>
            <a:r>
              <a:rPr kumimoji="1" lang="de-DE" altLang="ko-KR" dirty="0" smtClean="0"/>
              <a:t>.</a:t>
            </a:r>
            <a:r>
              <a:rPr kumimoji="1" lang="ko-KR" altLang="en-US" dirty="0" smtClean="0"/>
              <a:t> </a:t>
            </a:r>
            <a:r>
              <a:rPr kumimoji="1" lang="en-US" altLang="ko-KR" dirty="0" smtClean="0"/>
              <a:t>Copyright </a:t>
            </a:r>
            <a:r>
              <a:rPr kumimoji="1" lang="de-DE" altLang="ko-KR" dirty="0" smtClean="0"/>
              <a:t>© </a:t>
            </a:r>
            <a:r>
              <a:rPr kumimoji="1" lang="en-US" altLang="ko-KR" dirty="0" smtClean="0"/>
              <a:t>All rights reserved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직사각형 11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349394" y="1921572"/>
            <a:ext cx="2445221" cy="1300356"/>
          </a:xfrm>
          <a:prstGeom prst="rect">
            <a:avLst/>
          </a:prstGeom>
          <a:noFill/>
        </p:spPr>
        <p:txBody>
          <a:bodyPr wrap="none" lIns="68580" tIns="34290" rIns="68580" bIns="34290" rtlCol="0" anchor="ctr">
            <a:spAutoFit/>
          </a:bodyPr>
          <a:lstStyle/>
          <a:p>
            <a:pPr algn="ctr"/>
            <a:r>
              <a:rPr kumimoji="1" lang="en-US" altLang="ko-KR" sz="8000" b="0" i="0" dirty="0" smtClean="0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rPr>
              <a:t>Q&amp;A</a:t>
            </a:r>
            <a:endParaRPr kumimoji="1" lang="ko-KR" altLang="en-US" sz="8000" b="0" i="0" dirty="0">
              <a:solidFill>
                <a:schemeClr val="bg1"/>
              </a:solidFill>
              <a:latin typeface="Malgun Gothic" charset="-127"/>
              <a:ea typeface="Malgun Gothic" charset="-127"/>
              <a:cs typeface="Malgun Gothic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698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263047" y="303662"/>
            <a:ext cx="8614775" cy="477717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/>
          <a:p>
            <a:endParaRPr kumimoji="1"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263047" y="1005214"/>
            <a:ext cx="8614775" cy="3627509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dirty="0" smtClean="0"/>
              <a:t>두 번째 수준</a:t>
            </a:r>
          </a:p>
          <a:p>
            <a:pPr lvl="2"/>
            <a:r>
              <a:rPr kumimoji="1" lang="ko-KR" altLang="en-US" dirty="0" smtClean="0"/>
              <a:t>세 번째 수준</a:t>
            </a:r>
          </a:p>
          <a:p>
            <a:pPr lvl="3"/>
            <a:r>
              <a:rPr kumimoji="1" lang="ko-KR" altLang="en-US" dirty="0" smtClean="0"/>
              <a:t>네 번째 수준</a:t>
            </a:r>
          </a:p>
          <a:p>
            <a:pPr lvl="4"/>
            <a:r>
              <a:rPr kumimoji="1" lang="ko-KR" altLang="en-US" dirty="0" smtClean="0"/>
              <a:t>다섯 번째 수준</a:t>
            </a:r>
            <a:endParaRPr kumimoji="1"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282429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00">
                <a:solidFill>
                  <a:schemeClr val="tx1">
                    <a:lumMod val="85000"/>
                    <a:lumOff val="1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D490E64F-B7FB-AC4A-9630-7D0E4B25D25B}" type="datetime1">
              <a:rPr kumimoji="1" lang="ko-KR" altLang="en-US" smtClean="0"/>
              <a:pPr/>
              <a:t>2019-03-18</a:t>
            </a:fld>
            <a:endParaRPr kumimoji="1"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339829" y="4767263"/>
            <a:ext cx="629433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 b="1" i="0">
                <a:solidFill>
                  <a:schemeClr val="tx1">
                    <a:lumMod val="85000"/>
                    <a:lumOff val="1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844716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50" r:id="rId3"/>
    <p:sldLayoutId id="2147483654" r:id="rId4"/>
    <p:sldLayoutId id="2147483655" r:id="rId5"/>
    <p:sldLayoutId id="2147483658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1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1pPr>
    </p:titleStyle>
    <p:bodyStyle>
      <a:lvl1pPr marL="171450" indent="-171450" algn="l" defTabSz="685800" rtl="0" eaLnBrk="1" latinLnBrk="1" hangingPunct="1">
        <a:lnSpc>
          <a:spcPct val="90000"/>
        </a:lnSpc>
        <a:spcBef>
          <a:spcPts val="750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1pPr>
      <a:lvl2pPr marL="5143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2pPr>
      <a:lvl3pPr marL="8572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3pPr>
      <a:lvl4pPr marL="12001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4pPr>
      <a:lvl5pPr marL="15430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5pPr>
      <a:lvl6pPr marL="18859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isaacchanghau.github.io/images/deeplearning/stockpredict/rnndata.png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Relationship Id="rId6" Type="http://schemas.microsoft.com/office/2007/relationships/hdphoto" Target="../media/hdphoto5.wdp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9.pn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0" Type="http://schemas.openxmlformats.org/officeDocument/2006/relationships/image" Target="../media/image41.png"/><Relationship Id="rId4" Type="http://schemas.openxmlformats.org/officeDocument/2006/relationships/image" Target="../media/image36.png"/><Relationship Id="rId9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ko-KR" sz="6000" dirty="0" smtClean="0"/>
              <a:t>LSTM</a:t>
            </a:r>
            <a:r>
              <a:rPr kumimoji="1" lang="ko-KR" altLang="en-US" sz="6000" dirty="0" smtClean="0"/>
              <a:t>을 이용한 </a:t>
            </a:r>
            <a:r>
              <a:rPr kumimoji="1" lang="en-US" altLang="ko-KR" sz="6000" dirty="0" smtClean="0"/>
              <a:t/>
            </a:r>
            <a:br>
              <a:rPr kumimoji="1" lang="en-US" altLang="ko-KR" sz="6000" dirty="0" smtClean="0"/>
            </a:br>
            <a:r>
              <a:rPr kumimoji="1" lang="ko-KR" altLang="en-US" sz="6000" dirty="0" smtClean="0"/>
              <a:t>주가예측</a:t>
            </a:r>
            <a:endParaRPr kumimoji="1" lang="ko-KR" altLang="en-US" sz="6000" dirty="0"/>
          </a:p>
        </p:txBody>
      </p:sp>
      <p:sp>
        <p:nvSpPr>
          <p:cNvPr id="8" name="부제 7"/>
          <p:cNvSpPr>
            <a:spLocks noGrp="1"/>
          </p:cNvSpPr>
          <p:nvPr>
            <p:ph type="subTitle" idx="1"/>
          </p:nvPr>
        </p:nvSpPr>
        <p:spPr>
          <a:xfrm>
            <a:off x="257512" y="3746687"/>
            <a:ext cx="8499946" cy="585755"/>
          </a:xfrm>
        </p:spPr>
        <p:txBody>
          <a:bodyPr>
            <a:normAutofit/>
          </a:bodyPr>
          <a:lstStyle/>
          <a:p>
            <a:r>
              <a:rPr kumimoji="1" lang="en-US" altLang="ko-KR" dirty="0"/>
              <a:t>2018.06.22</a:t>
            </a:r>
            <a:r>
              <a:rPr kumimoji="1" lang="en-US" altLang="ko-KR" dirty="0" smtClean="0"/>
              <a:t>.</a:t>
            </a:r>
            <a:r>
              <a:rPr kumimoji="1" lang="ko-KR" altLang="en-US" dirty="0" smtClean="0"/>
              <a:t> </a:t>
            </a:r>
            <a:r>
              <a:rPr kumimoji="1" lang="en-US" altLang="ko-KR" dirty="0" smtClean="0"/>
              <a:t>| </a:t>
            </a:r>
            <a:r>
              <a:rPr kumimoji="1" lang="ko-KR" altLang="en-US" dirty="0" err="1" smtClean="0"/>
              <a:t>이인현</a:t>
            </a:r>
            <a:endParaRPr kumimoji="1" lang="en-US" altLang="ko-KR" dirty="0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>
          <a:xfrm>
            <a:off x="8515350" y="4767263"/>
            <a:ext cx="628650" cy="274637"/>
          </a:xfrm>
        </p:spPr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99364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0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 smtClean="0"/>
              <a:t>데이터 분석 </a:t>
            </a:r>
            <a:r>
              <a:rPr lang="en-US" altLang="ko-KR" dirty="0" smtClean="0"/>
              <a:t>(2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3</a:t>
            </a:r>
            <a:r>
              <a:rPr lang="ko-KR" altLang="en-US" dirty="0" smtClean="0"/>
              <a:t>차원 데이터 준비</a:t>
            </a:r>
            <a:endParaRPr kumimoji="1" lang="ko-KR" altLang="en-US" dirty="0"/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409689" y="841964"/>
            <a:ext cx="8273363" cy="17953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indent="-285750" defTabSz="778899" latinLnBrk="0">
              <a:lnSpc>
                <a:spcPts val="1449"/>
              </a:lnSpc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알고리즘을 학습시키기 </a:t>
            </a:r>
            <a:r>
              <a:rPr lang="ko-KR" altLang="en-US" b="1" spc="-5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위한 </a:t>
            </a:r>
            <a:r>
              <a:rPr lang="en-US" altLang="ko-KR" b="1" spc="-51" dirty="0">
                <a:solidFill>
                  <a:srgbClr val="00B0F0"/>
                </a:solidFill>
                <a:latin typeface="+mn-ea"/>
              </a:rPr>
              <a:t>3</a:t>
            </a:r>
            <a:r>
              <a:rPr lang="ko-KR" altLang="en-US" b="1" spc="-51" dirty="0">
                <a:solidFill>
                  <a:srgbClr val="00B0F0"/>
                </a:solidFill>
                <a:latin typeface="+mn-ea"/>
              </a:rPr>
              <a:t>차원 데이터</a:t>
            </a:r>
            <a:r>
              <a:rPr lang="ko-KR" altLang="en-US" b="1" spc="-5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를 준비함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  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endParaRPr lang="en-US" altLang="ko-KR" b="1" spc="-5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pic>
        <p:nvPicPr>
          <p:cNvPr id="6" name="Picture 6" descr="RNN and FNN Data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9" r="11817"/>
          <a:stretch/>
        </p:blipFill>
        <p:spPr bwMode="auto">
          <a:xfrm>
            <a:off x="409689" y="1653648"/>
            <a:ext cx="4148727" cy="1755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직사각형 7"/>
          <p:cNvSpPr/>
          <p:nvPr/>
        </p:nvSpPr>
        <p:spPr>
          <a:xfrm>
            <a:off x="409689" y="3411340"/>
            <a:ext cx="1837374" cy="856527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예제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MNIST)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Example: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개별 이미지 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- Input :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이미지 픽셀 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Feature)</a:t>
            </a:r>
          </a:p>
        </p:txBody>
      </p:sp>
      <p:cxnSp>
        <p:nvCxnSpPr>
          <p:cNvPr id="9" name="직선 연결선 12"/>
          <p:cNvCxnSpPr/>
          <p:nvPr/>
        </p:nvCxnSpPr>
        <p:spPr>
          <a:xfrm>
            <a:off x="4807033" y="1228160"/>
            <a:ext cx="0" cy="3726414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직사각형 11"/>
          <p:cNvSpPr/>
          <p:nvPr/>
        </p:nvSpPr>
        <p:spPr>
          <a:xfrm>
            <a:off x="2221833" y="3411340"/>
            <a:ext cx="2253914" cy="1551255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주가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예측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put Data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Example: time series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정보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: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자 변경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- values per time step  : 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</a:t>
            </a:r>
            <a:r>
              <a:rPr lang="en-US" altLang="ko-KR" sz="1000" spc="-5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ature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시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고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저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종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거래량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tim steps : window size 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(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현재 시점의 지표를 예측하기위해 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참조되는 과거 일수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4"/>
          <a:srcRect l="3937" t="29400" r="35032" b="28423"/>
          <a:stretch/>
        </p:blipFill>
        <p:spPr>
          <a:xfrm>
            <a:off x="5233785" y="3273209"/>
            <a:ext cx="3425204" cy="1223800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5"/>
          <a:srcRect l="10542" t="53873" r="42026" b="18864"/>
          <a:stretch/>
        </p:blipFill>
        <p:spPr>
          <a:xfrm>
            <a:off x="5295038" y="1835697"/>
            <a:ext cx="3209486" cy="928884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5364926" y="2807646"/>
            <a:ext cx="3057572" cy="284840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NN : Long Term Dependency </a:t>
            </a: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문제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364926" y="4559977"/>
            <a:ext cx="3057572" cy="281284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STM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: Long Short Term Memory</a:t>
            </a:r>
            <a:endParaRPr lang="en-US" altLang="ko-KR" sz="1000" b="1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369965" y="1236181"/>
            <a:ext cx="432048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LSTM Input Data </a:t>
            </a:r>
            <a:r>
              <a:rPr kumimoji="1" lang="ko-KR" altLang="en-US" sz="1200" b="1" dirty="0" smtClean="0"/>
              <a:t>특성</a:t>
            </a:r>
            <a:endParaRPr kumimoji="1" lang="ko-KR" altLang="en-US" sz="1200" b="1" dirty="0"/>
          </a:p>
        </p:txBody>
      </p:sp>
      <p:sp>
        <p:nvSpPr>
          <p:cNvPr id="22" name="모서리가 둥근 직사각형 21"/>
          <p:cNvSpPr/>
          <p:nvPr/>
        </p:nvSpPr>
        <p:spPr>
          <a:xfrm>
            <a:off x="4920729" y="1236181"/>
            <a:ext cx="3828370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RNN</a:t>
            </a:r>
            <a:r>
              <a:rPr kumimoji="1" lang="ko-KR" altLang="en-US" sz="1200" b="1" dirty="0" smtClean="0"/>
              <a:t> 대비 </a:t>
            </a:r>
            <a:r>
              <a:rPr kumimoji="1" lang="en-US" altLang="ko-KR" sz="1200" b="1" dirty="0" smtClean="0"/>
              <a:t>LSTM</a:t>
            </a:r>
            <a:r>
              <a:rPr kumimoji="1" lang="ko-KR" altLang="en-US" sz="1200" b="1" dirty="0" smtClean="0"/>
              <a:t> 개선점</a:t>
            </a:r>
            <a:endParaRPr kumimoji="1"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57789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1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 smtClean="0"/>
              <a:t>데이터 분석 </a:t>
            </a:r>
            <a:r>
              <a:rPr lang="en-US" altLang="ko-KR" dirty="0" smtClean="0"/>
              <a:t>(3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종가 예측 시스템 구축</a:t>
            </a:r>
            <a:endParaRPr kumimoji="1" lang="ko-KR" alt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21147" y="1246288"/>
            <a:ext cx="930519" cy="232575"/>
          </a:xfrm>
          <a:prstGeom prst="rect">
            <a:avLst/>
          </a:prstGeom>
          <a:noFill/>
        </p:spPr>
        <p:txBody>
          <a:bodyPr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소요 자원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92030" y="2376124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데이터</a:t>
            </a: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획득</a:t>
            </a:r>
            <a:endParaRPr lang="ko-KR" altLang="en-US" sz="100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1330" y="3371215"/>
            <a:ext cx="914218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모델학습</a:t>
            </a:r>
            <a:endParaRPr lang="en-US" altLang="ko-KR" sz="100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8502" y="4534269"/>
            <a:ext cx="926328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차일</a:t>
            </a: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종가</a:t>
            </a: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예측</a:t>
            </a:r>
            <a:endParaRPr lang="en-US" altLang="ko-KR" sz="100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720925" y="1227480"/>
            <a:ext cx="1692266" cy="563435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개발환경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: Pycharm</a:t>
            </a:r>
          </a:p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외부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API (</a:t>
            </a: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대신증권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)</a:t>
            </a:r>
          </a:p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</a:t>
            </a: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시스템 연동</a:t>
            </a:r>
          </a:p>
        </p:txBody>
      </p:sp>
      <p:cxnSp>
        <p:nvCxnSpPr>
          <p:cNvPr id="15" name="직선 연결선 103"/>
          <p:cNvCxnSpPr/>
          <p:nvPr/>
        </p:nvCxnSpPr>
        <p:spPr>
          <a:xfrm>
            <a:off x="262594" y="1814785"/>
            <a:ext cx="8701935" cy="323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04"/>
          <p:cNvCxnSpPr/>
          <p:nvPr/>
        </p:nvCxnSpPr>
        <p:spPr>
          <a:xfrm>
            <a:off x="262594" y="2615530"/>
            <a:ext cx="870193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 105"/>
          <p:cNvCxnSpPr/>
          <p:nvPr/>
        </p:nvCxnSpPr>
        <p:spPr>
          <a:xfrm flipV="1">
            <a:off x="262595" y="3741717"/>
            <a:ext cx="8701934" cy="819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37925" y="1527796"/>
            <a:ext cx="930520" cy="232575"/>
          </a:xfrm>
          <a:prstGeom prst="rect">
            <a:avLst/>
          </a:prstGeom>
          <a:noFill/>
        </p:spPr>
        <p:txBody>
          <a:bodyPr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업무 영역</a:t>
            </a:r>
          </a:p>
        </p:txBody>
      </p:sp>
      <p:cxnSp>
        <p:nvCxnSpPr>
          <p:cNvPr id="19" name="직선 연결선 111"/>
          <p:cNvCxnSpPr/>
          <p:nvPr/>
        </p:nvCxnSpPr>
        <p:spPr>
          <a:xfrm>
            <a:off x="311477" y="1225688"/>
            <a:ext cx="1285624" cy="58909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547561" y="2667512"/>
            <a:ext cx="1444511" cy="1002017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dirty="0">
                <a:latin typeface="+mn-ea"/>
              </a:rPr>
              <a:t>◎ </a:t>
            </a:r>
            <a:r>
              <a:rPr lang="en-US" altLang="ko-KR" sz="1000" dirty="0">
                <a:latin typeface="+mn-ea"/>
              </a:rPr>
              <a:t>LSTM </a:t>
            </a:r>
            <a:r>
              <a:rPr lang="ko-KR" altLang="en-US" sz="1000" dirty="0">
                <a:latin typeface="+mn-ea"/>
              </a:rPr>
              <a:t>학습데이터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- 3</a:t>
            </a:r>
            <a:r>
              <a:rPr lang="ko-KR" altLang="en-US" sz="1000" dirty="0">
                <a:latin typeface="+mn-ea"/>
              </a:rPr>
              <a:t>차원의 </a:t>
            </a:r>
            <a:r>
              <a:rPr lang="en-US" altLang="ko-KR" sz="1000" dirty="0" err="1">
                <a:latin typeface="+mn-ea"/>
              </a:rPr>
              <a:t>nupmy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 matrix </a:t>
            </a:r>
            <a:r>
              <a:rPr lang="ko-KR" altLang="en-US" sz="1000" dirty="0">
                <a:latin typeface="+mn-ea"/>
              </a:rPr>
              <a:t>변환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1) </a:t>
            </a:r>
            <a:r>
              <a:rPr lang="ko-KR" altLang="en-US" sz="1000" dirty="0">
                <a:latin typeface="+mn-ea"/>
              </a:rPr>
              <a:t>학습 </a:t>
            </a:r>
            <a:r>
              <a:rPr lang="en-US" altLang="ko-KR" sz="1000" dirty="0">
                <a:latin typeface="+mn-ea"/>
              </a:rPr>
              <a:t>Batch</a:t>
            </a: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2) </a:t>
            </a:r>
            <a:r>
              <a:rPr lang="ko-KR" altLang="en-US" sz="1000" dirty="0">
                <a:latin typeface="+mn-ea"/>
              </a:rPr>
              <a:t>입력 </a:t>
            </a:r>
            <a:r>
              <a:rPr lang="en-US" altLang="ko-KR" sz="1000" dirty="0">
                <a:latin typeface="+mn-ea"/>
              </a:rPr>
              <a:t>Feature </a:t>
            </a:r>
            <a:r>
              <a:rPr lang="ko-KR" altLang="en-US" sz="1000" dirty="0">
                <a:latin typeface="+mn-ea"/>
              </a:rPr>
              <a:t>수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3) Window    </a:t>
            </a:r>
            <a:r>
              <a:rPr lang="ko-KR" altLang="en-US" sz="1000" dirty="0">
                <a:latin typeface="+mn-ea"/>
              </a:rPr>
              <a:t> </a:t>
            </a:r>
            <a:endParaRPr lang="en-US" altLang="ko-KR" sz="1000" dirty="0"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47767" y="3782375"/>
            <a:ext cx="1413474" cy="694240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◎ 학습 및 예측 그래프</a:t>
            </a:r>
            <a:r>
              <a:rPr lang="en-US" altLang="ko-KR" sz="1000" spc="-150" dirty="0">
                <a:latin typeface="+mn-ea"/>
              </a:rPr>
              <a:t/>
            </a:r>
            <a:br>
              <a:rPr lang="en-US" altLang="ko-KR" sz="1000" spc="-150" dirty="0">
                <a:latin typeface="+mn-ea"/>
              </a:rPr>
            </a:br>
            <a:r>
              <a:rPr lang="en-US" altLang="ko-KR" sz="1000" spc="-150" dirty="0">
                <a:latin typeface="+mn-ea"/>
              </a:rPr>
              <a:t>   - </a:t>
            </a:r>
            <a:r>
              <a:rPr lang="ko-KR" altLang="en-US" sz="1000" spc="-150" dirty="0">
                <a:latin typeface="+mn-ea"/>
              </a:rPr>
              <a:t>학습</a:t>
            </a:r>
            <a:r>
              <a:rPr lang="en-US" altLang="ko-KR" sz="1000" spc="-150" dirty="0">
                <a:latin typeface="+mn-ea"/>
              </a:rPr>
              <a:t> </a:t>
            </a:r>
            <a:r>
              <a:rPr lang="en-US" altLang="ko-KR" sz="1000" dirty="0">
                <a:latin typeface="+mn-ea"/>
              </a:rPr>
              <a:t>Loss</a:t>
            </a:r>
            <a:r>
              <a:rPr lang="en-US" altLang="ko-KR" sz="1000" spc="-150" dirty="0">
                <a:latin typeface="+mn-ea"/>
              </a:rPr>
              <a:t> </a:t>
            </a:r>
            <a:r>
              <a:rPr lang="ko-KR" altLang="en-US" sz="1000" spc="-150" dirty="0">
                <a:latin typeface="+mn-ea"/>
              </a:rPr>
              <a:t>변화 그래프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- </a:t>
            </a:r>
            <a:r>
              <a:rPr lang="en-US" altLang="ko-KR" sz="1000" dirty="0">
                <a:latin typeface="+mn-ea"/>
              </a:rPr>
              <a:t>Prediction</a:t>
            </a:r>
            <a:r>
              <a:rPr lang="ko-KR" altLang="en-US" sz="1000" spc="-150" dirty="0">
                <a:latin typeface="+mn-ea"/>
              </a:rPr>
              <a:t>과 실제 값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  </a:t>
            </a:r>
            <a:r>
              <a:rPr lang="ko-KR" altLang="en-US" sz="1000" spc="-150" dirty="0">
                <a:latin typeface="+mn-ea"/>
              </a:rPr>
              <a:t>비교 그래프</a:t>
            </a:r>
            <a:endParaRPr lang="en-US" altLang="ko-KR" sz="1000" spc="-150" dirty="0">
              <a:latin typeface="+mn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547767" y="1866148"/>
            <a:ext cx="1413474" cy="694240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◎ 코스피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코스닥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 </a:t>
            </a:r>
            <a:r>
              <a:rPr lang="ko-KR" altLang="en-US" sz="1000" spc="-150" dirty="0" smtClean="0">
                <a:latin typeface="+mn-ea"/>
              </a:rPr>
              <a:t>선정 종목 </a:t>
            </a:r>
            <a:r>
              <a:rPr lang="en-US" altLang="ko-KR" sz="1000" spc="-150" dirty="0" smtClean="0">
                <a:latin typeface="+mn-ea"/>
              </a:rPr>
              <a:t>3</a:t>
            </a:r>
            <a:r>
              <a:rPr lang="ko-KR" altLang="en-US" sz="1000" spc="-150" dirty="0" smtClean="0">
                <a:latin typeface="+mn-ea"/>
              </a:rPr>
              <a:t>개월</a:t>
            </a:r>
            <a:r>
              <a:rPr lang="en-US" altLang="ko-KR" sz="1000" spc="-150" dirty="0" smtClean="0">
                <a:latin typeface="+mn-ea"/>
              </a:rPr>
              <a:t> </a:t>
            </a:r>
            <a:r>
              <a:rPr lang="ko-KR" altLang="en-US" sz="1000" spc="-150" dirty="0">
                <a:latin typeface="+mn-ea"/>
              </a:rPr>
              <a:t>시세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(</a:t>
            </a:r>
            <a:r>
              <a:rPr lang="ko-KR" altLang="en-US" sz="1000" spc="-150" dirty="0">
                <a:latin typeface="+mn-ea"/>
              </a:rPr>
              <a:t>시가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고가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저가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종가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 </a:t>
            </a:r>
            <a:r>
              <a:rPr lang="ko-KR" altLang="en-US" sz="1000" spc="-150" dirty="0">
                <a:latin typeface="+mn-ea"/>
              </a:rPr>
              <a:t>거래량</a:t>
            </a:r>
            <a:r>
              <a:rPr lang="en-US" altLang="ko-KR" sz="1000" spc="-150" dirty="0" smtClean="0">
                <a:latin typeface="+mn-ea"/>
              </a:rPr>
              <a:t>) </a:t>
            </a:r>
            <a:endParaRPr lang="en-US" altLang="ko-KR" sz="1000" spc="-150" dirty="0">
              <a:latin typeface="+mn-ea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575440" y="1227480"/>
            <a:ext cx="1581599" cy="401852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 </a:t>
            </a: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모델 설계</a:t>
            </a:r>
            <a:endParaRPr lang="en-US" altLang="ko-KR" sz="105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 - </a:t>
            </a:r>
            <a:r>
              <a:rPr lang="en-US" altLang="ko-KR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GPU 1070 </a:t>
            </a:r>
            <a:endParaRPr lang="en-US" altLang="ko-KR" sz="105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7556879" y="1227480"/>
            <a:ext cx="1218152" cy="240270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결과물</a:t>
            </a:r>
            <a:endParaRPr lang="en-US" altLang="ko-KR" sz="105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cxnSp>
        <p:nvCxnSpPr>
          <p:cNvPr id="25" name="직선 연결선 125"/>
          <p:cNvCxnSpPr/>
          <p:nvPr/>
        </p:nvCxnSpPr>
        <p:spPr>
          <a:xfrm>
            <a:off x="7550924" y="1227480"/>
            <a:ext cx="0" cy="36693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132"/>
          <p:cNvCxnSpPr/>
          <p:nvPr/>
        </p:nvCxnSpPr>
        <p:spPr>
          <a:xfrm>
            <a:off x="1597101" y="1181668"/>
            <a:ext cx="0" cy="36904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그룹 49"/>
          <p:cNvGrpSpPr/>
          <p:nvPr/>
        </p:nvGrpSpPr>
        <p:grpSpPr>
          <a:xfrm>
            <a:off x="1653307" y="1890767"/>
            <a:ext cx="1369242" cy="642270"/>
            <a:chOff x="1642078" y="1919643"/>
            <a:chExt cx="1369242" cy="642270"/>
          </a:xfrm>
        </p:grpSpPr>
        <p:sp>
          <p:nvSpPr>
            <p:cNvPr id="8" name="직사각형 7"/>
            <p:cNvSpPr/>
            <p:nvPr/>
          </p:nvSpPr>
          <p:spPr>
            <a:xfrm>
              <a:off x="1664769" y="1921618"/>
              <a:ext cx="1291004" cy="640295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5" tIns="38963" rIns="77925" bIns="38963" anchor="ctr"/>
            <a:lstStyle/>
            <a:p>
              <a:pPr algn="ctr">
                <a:defRPr/>
              </a:pPr>
              <a:endParaRPr lang="ko-KR" altLang="en-US" sz="1600" spc="-150">
                <a:latin typeface="+mn-ea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23601" y="2133064"/>
              <a:ext cx="1167005" cy="386464"/>
            </a:xfrm>
            <a:prstGeom prst="rect">
              <a:avLst/>
            </a:prstGeom>
            <a:noFill/>
          </p:spPr>
          <p:txBody>
            <a:bodyPr wrap="square" lIns="77925" tIns="38963" rIns="77925" bIns="38963">
              <a:spAutoFit/>
            </a:bodyPr>
            <a:lstStyle/>
            <a:p>
              <a:pPr algn="ctr">
                <a:defRPr/>
              </a:pPr>
              <a:r>
                <a:rPr lang="ko-KR" altLang="en-US" sz="1000" spc="-150" dirty="0">
                  <a:latin typeface="+mn-ea"/>
                </a:rPr>
                <a:t>데이터 정제</a:t>
              </a:r>
              <a:endParaRPr lang="en-US" altLang="ko-KR" sz="1000" spc="-150" dirty="0">
                <a:latin typeface="+mn-ea"/>
              </a:endParaRPr>
            </a:p>
            <a:p>
              <a:pPr algn="ctr">
                <a:defRPr/>
              </a:pPr>
              <a:r>
                <a:rPr lang="ko-KR" altLang="en-US" sz="1000" spc="-150" dirty="0">
                  <a:latin typeface="+mn-ea"/>
                </a:rPr>
                <a:t>데이터 </a:t>
              </a:r>
              <a:r>
                <a:rPr lang="ko-KR" altLang="en-US" sz="1000" spc="-150" dirty="0" smtClean="0">
                  <a:latin typeface="+mn-ea"/>
                </a:rPr>
                <a:t>저장</a:t>
              </a:r>
              <a:endParaRPr lang="en-US" altLang="ko-KR" sz="1000" spc="-150" dirty="0">
                <a:latin typeface="+mn-ea"/>
              </a:endParaRPr>
            </a:p>
          </p:txBody>
        </p:sp>
        <p:sp>
          <p:nvSpPr>
            <p:cNvPr id="29" name="직사각형 45"/>
            <p:cNvSpPr>
              <a:spLocks noChangeArrowheads="1"/>
            </p:cNvSpPr>
            <p:nvPr/>
          </p:nvSpPr>
          <p:spPr bwMode="auto">
            <a:xfrm>
              <a:off x="1642078" y="1919643"/>
              <a:ext cx="1369242" cy="232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7925" tIns="38963" rIns="77925" bIns="38963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★ </a:t>
              </a:r>
              <a:r>
                <a:rPr lang="en-US" altLang="ko-KR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Data Preparation</a:t>
              </a:r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2985402" y="2700673"/>
            <a:ext cx="2385322" cy="972586"/>
            <a:chOff x="2993423" y="2623674"/>
            <a:chExt cx="2385322" cy="972586"/>
          </a:xfrm>
        </p:grpSpPr>
        <p:sp>
          <p:nvSpPr>
            <p:cNvPr id="27" name="직사각형 26"/>
            <p:cNvSpPr/>
            <p:nvPr/>
          </p:nvSpPr>
          <p:spPr>
            <a:xfrm>
              <a:off x="2993874" y="2623674"/>
              <a:ext cx="2359176" cy="972586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5" tIns="38963" rIns="77925" bIns="38963" anchor="ctr"/>
            <a:lstStyle/>
            <a:p>
              <a:pPr algn="ctr">
                <a:defRPr/>
              </a:pPr>
              <a:endParaRPr lang="ko-KR" altLang="en-US" sz="1600" spc="-150">
                <a:latin typeface="+mn-ea"/>
              </a:endParaRPr>
            </a:p>
          </p:txBody>
        </p:sp>
        <p:sp>
          <p:nvSpPr>
            <p:cNvPr id="28" name="직사각형 10"/>
            <p:cNvSpPr>
              <a:spLocks noChangeArrowheads="1"/>
            </p:cNvSpPr>
            <p:nvPr/>
          </p:nvSpPr>
          <p:spPr bwMode="auto">
            <a:xfrm>
              <a:off x="2993423" y="2644570"/>
              <a:ext cx="1912052" cy="232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7925" tIns="38963" rIns="77925" bIns="38963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★ </a:t>
              </a:r>
              <a:r>
                <a:rPr lang="en-US" altLang="ko-KR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LSTM</a:t>
              </a:r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설계 및 데이터 준비</a:t>
              </a:r>
              <a:endParaRPr lang="en-US" altLang="ko-KR" sz="1000" b="1" u="sng" dirty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30" name="직사각형 29"/>
            <p:cNvSpPr/>
            <p:nvPr/>
          </p:nvSpPr>
          <p:spPr>
            <a:xfrm>
              <a:off x="3022298" y="2854393"/>
              <a:ext cx="2356447" cy="694240"/>
            </a:xfrm>
            <a:prstGeom prst="rect">
              <a:avLst/>
            </a:prstGeom>
          </p:spPr>
          <p:txBody>
            <a:bodyPr wrap="square" lIns="77925" tIns="38963" rIns="77925" bIns="38963">
              <a:spAutoFit/>
            </a:bodyPr>
            <a:lstStyle/>
            <a:p>
              <a:pPr>
                <a:defRPr/>
              </a:pPr>
              <a:r>
                <a:rPr lang="en-US" altLang="ko-KR" sz="1000" dirty="0" err="1">
                  <a:solidFill>
                    <a:prstClr val="black"/>
                  </a:solidFill>
                  <a:latin typeface="+mn-ea"/>
                </a:rPr>
                <a:t>Keras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활용 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LSTM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적용</a:t>
              </a:r>
              <a:endParaRPr lang="en-US" altLang="ko-KR" sz="1000" dirty="0">
                <a:solidFill>
                  <a:prstClr val="black"/>
                </a:solidFill>
                <a:latin typeface="+mn-ea"/>
              </a:endParaRPr>
            </a:p>
            <a:p>
              <a:pPr>
                <a:defRPr/>
              </a:pPr>
              <a:r>
                <a:rPr lang="en-US" altLang="ko-KR" sz="1000" dirty="0" smtClean="0">
                  <a:latin typeface="+mn-ea"/>
                </a:rPr>
                <a:t>- Input </a:t>
              </a:r>
              <a:r>
                <a:rPr lang="en-US" altLang="ko-KR" sz="1000" dirty="0">
                  <a:latin typeface="+mn-ea"/>
                </a:rPr>
                <a:t>size, Output size </a:t>
              </a:r>
              <a:r>
                <a:rPr lang="ko-KR" altLang="en-US" sz="1000" dirty="0" err="1">
                  <a:latin typeface="+mn-ea"/>
                </a:rPr>
                <a:t>자동매칭</a:t>
              </a:r>
              <a:r>
                <a:rPr lang="en-US" altLang="ko-KR" sz="1000" dirty="0">
                  <a:latin typeface="+mn-ea"/>
                </a:rPr>
                <a:t/>
              </a:r>
              <a:br>
                <a:rPr lang="en-US" altLang="ko-KR" sz="1000" dirty="0">
                  <a:latin typeface="+mn-ea"/>
                </a:rPr>
              </a:b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- </a:t>
              </a:r>
              <a:r>
                <a:rPr lang="en-US" altLang="ko-KR" sz="1000" dirty="0" err="1" smtClean="0">
                  <a:solidFill>
                    <a:prstClr val="black"/>
                  </a:solidFill>
                  <a:latin typeface="+mn-ea"/>
                </a:rPr>
                <a:t>Sklearn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 </a:t>
              </a:r>
              <a:r>
                <a:rPr lang="en-US" altLang="ko-KR" sz="1000" dirty="0" err="1">
                  <a:solidFill>
                    <a:prstClr val="black"/>
                  </a:solidFill>
                  <a:latin typeface="+mn-ea"/>
                </a:rPr>
                <a:t>MinMaxScaler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 </a:t>
              </a:r>
              <a:r>
                <a:rPr lang="en-US" altLang="ko-KR" sz="1000" dirty="0" err="1" smtClean="0">
                  <a:solidFill>
                    <a:prstClr val="black"/>
                  </a:solidFill>
                  <a:latin typeface="+mn-ea"/>
                </a:rPr>
                <a:t>Fit_Transfom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, </a:t>
              </a:r>
              <a:endParaRPr lang="en-US" altLang="ko-KR" sz="1000" dirty="0" smtClean="0">
                <a:solidFill>
                  <a:prstClr val="black"/>
                </a:solidFill>
                <a:latin typeface="+mn-ea"/>
              </a:endParaRPr>
            </a:p>
            <a:p>
              <a:pPr>
                <a:defRPr/>
              </a:pP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-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+mn-ea"/>
                </a:rPr>
                <a:t>학습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종료 후 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Inverse Transform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적용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 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5400254" y="3842454"/>
            <a:ext cx="2164965" cy="1054328"/>
            <a:chOff x="5389025" y="3890580"/>
            <a:chExt cx="2164965" cy="1054328"/>
          </a:xfrm>
        </p:grpSpPr>
        <p:sp>
          <p:nvSpPr>
            <p:cNvPr id="31" name="직사각형 30"/>
            <p:cNvSpPr/>
            <p:nvPr/>
          </p:nvSpPr>
          <p:spPr>
            <a:xfrm>
              <a:off x="5389025" y="3890580"/>
              <a:ext cx="2060929" cy="1054328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5" tIns="38963" rIns="77925" bIns="38963" anchor="ctr"/>
            <a:lstStyle/>
            <a:p>
              <a:pPr algn="ctr">
                <a:defRPr/>
              </a:pPr>
              <a:endParaRPr lang="ko-KR" altLang="en-US" sz="1600" spc="-150">
                <a:latin typeface="+mn-ea"/>
              </a:endParaRPr>
            </a:p>
          </p:txBody>
        </p:sp>
        <p:sp>
          <p:nvSpPr>
            <p:cNvPr id="32" name="직사각형 10"/>
            <p:cNvSpPr>
              <a:spLocks noChangeArrowheads="1"/>
            </p:cNvSpPr>
            <p:nvPr/>
          </p:nvSpPr>
          <p:spPr bwMode="auto">
            <a:xfrm>
              <a:off x="5389025" y="3918225"/>
              <a:ext cx="2164965" cy="1002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7925" tIns="38963" rIns="77925" bIns="38963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★ 평가 및 </a:t>
              </a:r>
              <a:r>
                <a:rPr lang="en-US" altLang="ko-KR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Hyper </a:t>
              </a:r>
              <a:r>
                <a:rPr lang="en-US" altLang="ko-KR" sz="1000" b="1" u="sng" dirty="0" err="1" smtClean="0">
                  <a:solidFill>
                    <a:srgbClr val="FF0000"/>
                  </a:solidFill>
                  <a:latin typeface="+mn-ea"/>
                  <a:ea typeface="+mn-ea"/>
                </a:rPr>
                <a:t>Paramete</a:t>
              </a:r>
              <a:r>
                <a:rPr lang="en-US" altLang="ko-KR" sz="1000" b="1" u="sng" dirty="0" smtClean="0">
                  <a:solidFill>
                    <a:srgbClr val="FF0000"/>
                  </a:solidFill>
                  <a:latin typeface="+mn-ea"/>
                  <a:ea typeface="+mn-ea"/>
                </a:rPr>
                <a:t> </a:t>
              </a:r>
              <a:r>
                <a:rPr lang="ko-KR" altLang="en-US" sz="1000" b="1" u="sng" dirty="0" smtClean="0">
                  <a:solidFill>
                    <a:srgbClr val="FF0000"/>
                  </a:solidFill>
                  <a:latin typeface="+mn-ea"/>
                  <a:ea typeface="+mn-ea"/>
                </a:rPr>
                <a:t>검증</a:t>
              </a:r>
              <a:endParaRPr lang="en-US" altLang="ko-KR" sz="1000" b="1" u="sng" dirty="0">
                <a:solidFill>
                  <a:srgbClr val="FF0000"/>
                </a:solidFill>
                <a:latin typeface="+mn-ea"/>
                <a:ea typeface="+mn-ea"/>
              </a:endParaRPr>
            </a:p>
            <a:p>
              <a:pPr eaLnBrk="1" hangingPunct="1"/>
              <a:r>
                <a:rPr lang="en-US" altLang="ko-KR" sz="1000" spc="-150" dirty="0" smtClean="0">
                  <a:latin typeface="+mn-ea"/>
                  <a:ea typeface="+mn-ea"/>
                </a:rPr>
                <a:t>-  </a:t>
              </a:r>
              <a:r>
                <a:rPr lang="en-US" altLang="ko-KR" sz="1000" dirty="0">
                  <a:latin typeface="+mn-ea"/>
                  <a:ea typeface="+mn-ea"/>
                </a:rPr>
                <a:t>80%</a:t>
              </a:r>
              <a:r>
                <a:rPr lang="ko-KR" altLang="en-US" sz="1000" dirty="0">
                  <a:latin typeface="+mn-ea"/>
                  <a:ea typeface="+mn-ea"/>
                </a:rPr>
                <a:t>의 </a:t>
              </a:r>
              <a:r>
                <a:rPr lang="en-US" altLang="ko-KR" sz="1000" dirty="0">
                  <a:latin typeface="+mn-ea"/>
                  <a:ea typeface="+mn-ea"/>
                </a:rPr>
                <a:t>Training Data </a:t>
              </a:r>
            </a:p>
            <a:p>
              <a:pPr eaLnBrk="1" hangingPunct="1"/>
              <a:r>
                <a:rPr lang="en-US" altLang="ko-KR" sz="1000" dirty="0">
                  <a:latin typeface="+mn-ea"/>
                  <a:ea typeface="+mn-ea"/>
                </a:rPr>
                <a:t>  (95%</a:t>
              </a:r>
              <a:r>
                <a:rPr lang="ko-KR" altLang="en-US" sz="1000" dirty="0">
                  <a:latin typeface="+mn-ea"/>
                  <a:ea typeface="+mn-ea"/>
                </a:rPr>
                <a:t> </a:t>
              </a:r>
              <a:r>
                <a:rPr lang="en-US" altLang="ko-KR" sz="1000" dirty="0" smtClean="0">
                  <a:latin typeface="+mn-ea"/>
                  <a:ea typeface="+mn-ea"/>
                </a:rPr>
                <a:t>Training, 5</a:t>
              </a:r>
              <a:r>
                <a:rPr lang="en-US" altLang="ko-KR" sz="1000" dirty="0">
                  <a:latin typeface="+mn-ea"/>
                  <a:ea typeface="+mn-ea"/>
                </a:rPr>
                <a:t>% Validation</a:t>
              </a:r>
              <a:r>
                <a:rPr lang="en-US" altLang="ko-KR" sz="1000" dirty="0" smtClean="0">
                  <a:latin typeface="+mn-ea"/>
                  <a:ea typeface="+mn-ea"/>
                </a:rPr>
                <a:t>)</a:t>
              </a:r>
            </a:p>
            <a:p>
              <a:pPr eaLnBrk="1" hangingPunct="1"/>
              <a:r>
                <a:rPr lang="en-US" altLang="ko-KR" sz="1000" dirty="0" smtClean="0">
                  <a:latin typeface="+mn-ea"/>
                  <a:ea typeface="+mn-ea"/>
                </a:rPr>
                <a:t>- </a:t>
              </a:r>
              <a:r>
                <a:rPr lang="ko-KR" altLang="en-US" sz="1000" dirty="0" smtClean="0">
                  <a:latin typeface="+mn-ea"/>
                  <a:ea typeface="+mn-ea"/>
                </a:rPr>
                <a:t>학습 </a:t>
              </a:r>
              <a:r>
                <a:rPr lang="ko-KR" altLang="en-US" sz="1000" dirty="0">
                  <a:latin typeface="+mn-ea"/>
                  <a:ea typeface="+mn-ea"/>
                </a:rPr>
                <a:t>그래프 </a:t>
              </a:r>
              <a:r>
                <a:rPr lang="ko-KR" altLang="en-US" sz="1000" dirty="0" smtClean="0">
                  <a:latin typeface="+mn-ea"/>
                  <a:ea typeface="+mn-ea"/>
                </a:rPr>
                <a:t>적정 </a:t>
              </a:r>
              <a:r>
                <a:rPr lang="en-US" altLang="ko-KR" sz="1000" dirty="0">
                  <a:latin typeface="+mn-ea"/>
                  <a:ea typeface="+mn-ea"/>
                </a:rPr>
                <a:t>Epoch </a:t>
              </a:r>
              <a:r>
                <a:rPr lang="ko-KR" altLang="en-US" sz="1000" dirty="0" smtClean="0">
                  <a:latin typeface="+mn-ea"/>
                  <a:ea typeface="+mn-ea"/>
                </a:rPr>
                <a:t>찾기</a:t>
              </a:r>
              <a:endParaRPr lang="en-US" altLang="ko-KR" sz="1000" dirty="0" smtClean="0">
                <a:latin typeface="+mn-ea"/>
                <a:ea typeface="+mn-ea"/>
              </a:endParaRPr>
            </a:p>
            <a:p>
              <a:pPr eaLnBrk="1" hangingPunct="1"/>
              <a:r>
                <a:rPr lang="en-US" altLang="ko-KR" sz="1000" dirty="0" smtClean="0">
                  <a:latin typeface="+mn-ea"/>
                  <a:ea typeface="+mn-ea"/>
                </a:rPr>
                <a:t>- </a:t>
              </a:r>
              <a:r>
                <a:rPr lang="ko-KR" altLang="en-US" sz="1000" dirty="0" smtClean="0">
                  <a:latin typeface="+mn-ea"/>
                  <a:ea typeface="+mn-ea"/>
                </a:rPr>
                <a:t>학습된 </a:t>
              </a:r>
              <a:r>
                <a:rPr lang="ko-KR" altLang="en-US" sz="1000" dirty="0">
                  <a:latin typeface="+mn-ea"/>
                  <a:ea typeface="+mn-ea"/>
                </a:rPr>
                <a:t>모델로 </a:t>
              </a:r>
              <a:r>
                <a:rPr lang="ko-KR" altLang="en-US" sz="1000" dirty="0" smtClean="0">
                  <a:latin typeface="+mn-ea"/>
                  <a:ea typeface="+mn-ea"/>
                </a:rPr>
                <a:t>예측하여</a:t>
              </a:r>
              <a:endParaRPr lang="en-US" altLang="ko-KR" sz="1000" dirty="0">
                <a:latin typeface="+mn-ea"/>
                <a:ea typeface="+mn-ea"/>
              </a:endParaRPr>
            </a:p>
            <a:p>
              <a:pPr eaLnBrk="1" hangingPunct="1"/>
              <a:r>
                <a:rPr lang="ko-KR" altLang="en-US" sz="1000" dirty="0" smtClean="0">
                  <a:latin typeface="+mn-ea"/>
                  <a:ea typeface="+mn-ea"/>
                </a:rPr>
                <a:t>  실제 </a:t>
              </a:r>
              <a:r>
                <a:rPr lang="ko-KR" altLang="en-US" sz="1000" dirty="0">
                  <a:latin typeface="+mn-ea"/>
                  <a:ea typeface="+mn-ea"/>
                </a:rPr>
                <a:t>결과와 비교 </a:t>
              </a:r>
              <a:endParaRPr lang="en-US" altLang="ko-KR" sz="1000" dirty="0">
                <a:latin typeface="+mn-ea"/>
                <a:ea typeface="+mn-ea"/>
              </a:endParaRPr>
            </a:p>
          </p:txBody>
        </p:sp>
      </p:grpSp>
      <p:pic>
        <p:nvPicPr>
          <p:cNvPr id="33" name="그림 3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5905" y="1898610"/>
            <a:ext cx="550356" cy="470900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 rotWithShape="1">
          <a:blip r:embed="rId4"/>
          <a:srcRect r="23850"/>
          <a:stretch/>
        </p:blipFill>
        <p:spPr>
          <a:xfrm>
            <a:off x="409132" y="2809929"/>
            <a:ext cx="1013766" cy="494807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7952" y="3917687"/>
            <a:ext cx="740493" cy="554117"/>
          </a:xfrm>
          <a:prstGeom prst="rect">
            <a:avLst/>
          </a:prstGeom>
        </p:spPr>
      </p:pic>
      <p:sp>
        <p:nvSpPr>
          <p:cNvPr id="36" name="직사각형 35"/>
          <p:cNvSpPr/>
          <p:nvPr/>
        </p:nvSpPr>
        <p:spPr>
          <a:xfrm>
            <a:off x="5584713" y="1227480"/>
            <a:ext cx="1581599" cy="401852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그래프 라이브러리</a:t>
            </a:r>
            <a:endParaRPr lang="en-US" altLang="ko-KR" sz="105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en-US" altLang="ko-KR" sz="1050" b="1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 </a:t>
            </a:r>
          </a:p>
        </p:txBody>
      </p:sp>
      <p:cxnSp>
        <p:nvCxnSpPr>
          <p:cNvPr id="37" name="꺾인 연결선 18"/>
          <p:cNvCxnSpPr/>
          <p:nvPr/>
        </p:nvCxnSpPr>
        <p:spPr>
          <a:xfrm rot="16200000" flipH="1">
            <a:off x="2399940" y="2432231"/>
            <a:ext cx="432035" cy="664552"/>
          </a:xfrm>
          <a:prstGeom prst="bentConnector2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꺾인 연결선 20"/>
          <p:cNvCxnSpPr/>
          <p:nvPr/>
        </p:nvCxnSpPr>
        <p:spPr>
          <a:xfrm rot="16200000" flipH="1">
            <a:off x="4352314" y="3659945"/>
            <a:ext cx="1126600" cy="967912"/>
          </a:xfrm>
          <a:prstGeom prst="bentConnector2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텍스트 개체 틀 1"/>
          <p:cNvSpPr txBox="1">
            <a:spLocks/>
          </p:cNvSpPr>
          <p:nvPr/>
        </p:nvSpPr>
        <p:spPr>
          <a:xfrm>
            <a:off x="409689" y="841964"/>
            <a:ext cx="8273363" cy="17953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indent="-285750" defTabSz="778899" latinLnBrk="0">
              <a:lnSpc>
                <a:spcPts val="1449"/>
              </a:lnSpc>
              <a:spcBef>
                <a:spcPct val="20000"/>
              </a:spcBef>
              <a:buFont typeface="Arial" charset="0"/>
              <a:buChar char="•"/>
              <a:defRPr/>
            </a:pP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시세 정보를 읽어와서 </a:t>
            </a:r>
            <a:r>
              <a:rPr lang="en-US" altLang="ko-KR" b="1" spc="-51" dirty="0" smtClean="0">
                <a:solidFill>
                  <a:srgbClr val="00B0F0"/>
                </a:solidFill>
                <a:latin typeface="+mn-ea"/>
              </a:rPr>
              <a:t>LSTM</a:t>
            </a:r>
            <a:r>
              <a:rPr lang="ko-KR" altLang="en-US" b="1" spc="-51" dirty="0" smtClean="0">
                <a:solidFill>
                  <a:srgbClr val="00B0F0"/>
                </a:solidFill>
                <a:latin typeface="+mn-ea"/>
              </a:rPr>
              <a:t> 모형으로 학습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시킨 후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,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다음날의 종가를 예상하기 위한 시스템 구축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4787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2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1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적정 </a:t>
            </a:r>
            <a:r>
              <a:rPr lang="en-US" altLang="ko-KR" dirty="0"/>
              <a:t>Epoch </a:t>
            </a:r>
            <a:r>
              <a:rPr lang="ko-KR" altLang="en-US" dirty="0" smtClean="0"/>
              <a:t>확인</a:t>
            </a:r>
            <a:endParaRPr kumimoji="1" lang="ko-KR" altLang="en-US" dirty="0"/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408214" y="860720"/>
            <a:ext cx="832465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indent="-285750" defTabSz="685490" latinLnBrk="0">
              <a:lnSpc>
                <a:spcPts val="1275"/>
              </a:lnSpc>
              <a:spcBef>
                <a:spcPct val="20000"/>
              </a:spcBef>
              <a:buFont typeface="Arial" charset="0"/>
              <a:buChar char="•"/>
              <a:defRPr/>
            </a:pPr>
            <a:r>
              <a:rPr lang="ko-KR" altLang="en-US" b="1" spc="-45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학습에 </a:t>
            </a:r>
            <a:r>
              <a:rPr lang="ko-KR" altLang="en-US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필요한 최소 </a:t>
            </a:r>
            <a:r>
              <a:rPr lang="en-US" altLang="ko-KR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Epoch </a:t>
            </a:r>
            <a:r>
              <a:rPr lang="ko-KR" altLang="en-US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확인결과 </a:t>
            </a:r>
            <a:r>
              <a:rPr lang="en-US" altLang="ko-KR" b="1" spc="-45" dirty="0">
                <a:solidFill>
                  <a:srgbClr val="00B0F0"/>
                </a:solidFill>
                <a:latin typeface="+mn-ea"/>
              </a:rPr>
              <a:t>30 Epoch</a:t>
            </a:r>
            <a:r>
              <a:rPr lang="ko-KR" altLang="en-US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으로 확인되어 학습 시행</a:t>
            </a:r>
            <a:r>
              <a:rPr lang="en-US" altLang="ko-KR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 (Training 95%, Validation 5</a:t>
            </a:r>
            <a:r>
              <a:rPr lang="en-US" altLang="ko-KR" b="1" spc="-45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%)</a:t>
            </a: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26" y="1128886"/>
            <a:ext cx="2365809" cy="1774357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239" y="1111224"/>
            <a:ext cx="2400052" cy="180004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81" y="1146647"/>
            <a:ext cx="2381964" cy="1786474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18" y="3093112"/>
            <a:ext cx="2397908" cy="1798431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754" y="3075009"/>
            <a:ext cx="2435526" cy="182664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161" y="3066988"/>
            <a:ext cx="2381964" cy="1786474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>
          <a:xfrm>
            <a:off x="1016210" y="2909650"/>
            <a:ext cx="1913553" cy="287572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45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K </a:t>
            </a: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우</a:t>
            </a:r>
            <a:endParaRPr lang="en-US" altLang="ko-KR" sz="1100" spc="-4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615926" y="2902205"/>
            <a:ext cx="2236365" cy="302463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45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ART </a:t>
            </a: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선진국</a:t>
            </a:r>
            <a:r>
              <a:rPr lang="en-US" altLang="ko-KR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SCI World</a:t>
            </a:r>
            <a:endParaRPr lang="en-US" altLang="ko-KR" sz="1100" spc="-4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330366" y="2902912"/>
            <a:ext cx="1913553" cy="248735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45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고려산업</a:t>
            </a:r>
            <a:endParaRPr lang="en-US" altLang="ko-KR" sz="1100" spc="-4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84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3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2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적정 </a:t>
            </a:r>
            <a:r>
              <a:rPr lang="en-US" altLang="ko-KR" dirty="0"/>
              <a:t>Window </a:t>
            </a:r>
            <a:r>
              <a:rPr lang="ko-KR" altLang="en-US" dirty="0" smtClean="0"/>
              <a:t>확인</a:t>
            </a:r>
            <a:endParaRPr kumimoji="1" lang="ko-KR" altLang="en-US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3380826"/>
              </p:ext>
            </p:extLst>
          </p:nvPr>
        </p:nvGraphicFramePr>
        <p:xfrm>
          <a:off x="438340" y="2101161"/>
          <a:ext cx="3604271" cy="26660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38039">
                  <a:extLst>
                    <a:ext uri="{9D8B030D-6E8A-4147-A177-3AD203B41FA5}">
                      <a16:colId xmlns:a16="http://schemas.microsoft.com/office/drawing/2014/main" val="3507173917"/>
                    </a:ext>
                  </a:extLst>
                </a:gridCol>
                <a:gridCol w="1238858">
                  <a:extLst>
                    <a:ext uri="{9D8B030D-6E8A-4147-A177-3AD203B41FA5}">
                      <a16:colId xmlns:a16="http://schemas.microsoft.com/office/drawing/2014/main" val="508435751"/>
                    </a:ext>
                  </a:extLst>
                </a:gridCol>
                <a:gridCol w="1427374">
                  <a:extLst>
                    <a:ext uri="{9D8B030D-6E8A-4147-A177-3AD203B41FA5}">
                      <a16:colId xmlns:a16="http://schemas.microsoft.com/office/drawing/2014/main" val="2646469003"/>
                    </a:ext>
                  </a:extLst>
                </a:gridCol>
              </a:tblGrid>
              <a:tr h="26293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indow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MSE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470017"/>
                  </a:ext>
                </a:extLst>
              </a:tr>
              <a:tr h="300395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raining </a:t>
                      </a: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5842050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0</a:t>
                      </a:r>
                      <a:endParaRPr lang="en-US" altLang="ko-KR" sz="11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7283973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3765867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3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8076038"/>
                  </a:ext>
                </a:extLst>
              </a:tr>
              <a:tr h="300395">
                <a:tc rowSpan="4"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est</a:t>
                      </a:r>
                    </a:p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2472901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3</a:t>
                      </a:r>
                      <a:endParaRPr lang="en-US" altLang="ko-KR" sz="11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8830369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82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00864982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41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7013538"/>
                  </a:ext>
                </a:extLst>
              </a:tr>
            </a:tbl>
          </a:graphicData>
        </a:graphic>
      </p:graphicFrame>
      <p:sp>
        <p:nvSpPr>
          <p:cNvPr id="6" name="직사각형 5"/>
          <p:cNvSpPr/>
          <p:nvPr/>
        </p:nvSpPr>
        <p:spPr>
          <a:xfrm>
            <a:off x="369966" y="1663761"/>
            <a:ext cx="3183629" cy="35719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평가 영역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동일한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0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 종목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verage)</a:t>
            </a:r>
          </a:p>
        </p:txBody>
      </p:sp>
      <p:cxnSp>
        <p:nvCxnSpPr>
          <p:cNvPr id="8" name="직선 연결선 54"/>
          <p:cNvCxnSpPr/>
          <p:nvPr/>
        </p:nvCxnSpPr>
        <p:spPr>
          <a:xfrm>
            <a:off x="971277" y="1436589"/>
            <a:ext cx="273630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/>
        </p:nvSpPr>
        <p:spPr>
          <a:xfrm>
            <a:off x="4728116" y="2307877"/>
            <a:ext cx="3894516" cy="2430733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과거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5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의 흐름이 현재에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영향력을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가지고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있음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과거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1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도 좋은 성능을 보임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)    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endParaRPr lang="en-US" altLang="ko-KR" sz="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2, 3, 4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의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Window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Size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로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추가테스트 결과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4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에서 최저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RMSE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도출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raining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Score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: 0.00362   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est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Score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: 0.00173 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endParaRPr lang="en-US" altLang="ko-KR" sz="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Error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가 적다는 것이 수익을 보장하지 않는다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       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      </a:t>
            </a:r>
            <a:b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</a:b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  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다음날 예측의 방향성이 다를 경우 손실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)  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endParaRPr lang="en-US" altLang="ko-KR" sz="200" b="1" spc="-6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유사한 흐름을 보이는 인공지능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Hyper Parameter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를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/>
            </a:r>
            <a:b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</a:b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그래프로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추적하자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4" name="텍스트 개체 틀 1"/>
          <p:cNvSpPr txBox="1">
            <a:spLocks/>
          </p:cNvSpPr>
          <p:nvPr/>
        </p:nvSpPr>
        <p:spPr>
          <a:xfrm>
            <a:off x="383010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285750" indent="-285750">
              <a:buFont typeface="Arial" charset="0"/>
              <a:buChar char="•"/>
            </a:pP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(Time Steps)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변경하며 최적의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per Parameter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찾는다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369966" y="1236181"/>
            <a:ext cx="3857486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코스피 </a:t>
            </a:r>
            <a:r>
              <a:rPr kumimoji="1" lang="en-US" altLang="ko-KR" sz="1200" b="1" dirty="0" smtClean="0"/>
              <a:t>50</a:t>
            </a:r>
            <a:r>
              <a:rPr kumimoji="1" lang="ko-KR" altLang="en-US" sz="1200" b="1" dirty="0" smtClean="0"/>
              <a:t>종목 예측 </a:t>
            </a:r>
            <a:r>
              <a:rPr kumimoji="1" lang="en-US" altLang="ko-KR" sz="1200" b="1" dirty="0" smtClean="0"/>
              <a:t>Loss </a:t>
            </a:r>
            <a:r>
              <a:rPr kumimoji="1" lang="ko-KR" altLang="en-US" sz="1200" b="1" dirty="0" smtClean="0"/>
              <a:t>평균</a:t>
            </a:r>
            <a:endParaRPr kumimoji="1" lang="ko-KR" altLang="en-US" sz="1200" b="1" dirty="0"/>
          </a:p>
        </p:txBody>
      </p:sp>
      <p:sp>
        <p:nvSpPr>
          <p:cNvPr id="20" name="모서리가 둥근 직사각형 19"/>
          <p:cNvSpPr/>
          <p:nvPr/>
        </p:nvSpPr>
        <p:spPr>
          <a:xfrm>
            <a:off x="4625936" y="1236181"/>
            <a:ext cx="4151812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결과 분석</a:t>
            </a:r>
            <a:endParaRPr kumimoji="1" lang="ko-KR" altLang="en-US" sz="1200" b="1" dirty="0"/>
          </a:p>
        </p:txBody>
      </p:sp>
      <p:sp>
        <p:nvSpPr>
          <p:cNvPr id="21" name="직사각형 20"/>
          <p:cNvSpPr/>
          <p:nvPr/>
        </p:nvSpPr>
        <p:spPr>
          <a:xfrm>
            <a:off x="4601873" y="1679978"/>
            <a:ext cx="4219802" cy="327062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 smtClean="0">
                <a:solidFill>
                  <a:srgbClr val="00B0F0"/>
                </a:solidFill>
              </a:rPr>
              <a:t>Window Size 5</a:t>
            </a:r>
            <a:r>
              <a:rPr lang="ko-KR" altLang="en-US" sz="1200" b="1" spc="-60" dirty="0" smtClean="0">
                <a:solidFill>
                  <a:srgbClr val="00B0F0"/>
                </a:solidFill>
              </a:rPr>
              <a:t>일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 학습 결과 가장 정확한 예측 결과를 보임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</a:p>
        </p:txBody>
      </p:sp>
      <p:sp>
        <p:nvSpPr>
          <p:cNvPr id="4" name="오른쪽 화살표[R] 3"/>
          <p:cNvSpPr/>
          <p:nvPr/>
        </p:nvSpPr>
        <p:spPr>
          <a:xfrm>
            <a:off x="4187347" y="2701085"/>
            <a:ext cx="449178" cy="1499937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23" name="직선 연결선[R] 22"/>
          <p:cNvCxnSpPr/>
          <p:nvPr/>
        </p:nvCxnSpPr>
        <p:spPr>
          <a:xfrm>
            <a:off x="4688009" y="2077098"/>
            <a:ext cx="406567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1590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4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3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Best Case</a:t>
            </a:r>
            <a:endParaRPr kumimoji="1" lang="ko-KR" altLang="en-US" dirty="0"/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359" y="1061894"/>
            <a:ext cx="2593665" cy="1945248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296" y="1061894"/>
            <a:ext cx="2546206" cy="190965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296" y="2984294"/>
            <a:ext cx="2546206" cy="1909655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358" y="2984294"/>
            <a:ext cx="2564249" cy="1923187"/>
          </a:xfrm>
          <a:prstGeom prst="rect">
            <a:avLst/>
          </a:prstGeom>
        </p:spPr>
      </p:pic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285750" indent="-285750">
              <a:buFont typeface="Arial" charset="0"/>
              <a:buChar char="•"/>
            </a:pP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(Time Steps)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변경하며 최적의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per Parameter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찾는다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754937" y="1289067"/>
            <a:ext cx="1163906" cy="34582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200" b="1" spc="-6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교보증권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512786" y="1250654"/>
            <a:ext cx="1133294" cy="26285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셀트리온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707380" y="3184572"/>
            <a:ext cx="1290906" cy="29017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한국항공우주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512786" y="3179527"/>
            <a:ext cx="967571" cy="330088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삼성전기 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95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5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4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Worst Case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360" y="1066643"/>
            <a:ext cx="2585713" cy="1939285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419" y="1028451"/>
            <a:ext cx="2608444" cy="1956333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419" y="3005928"/>
            <a:ext cx="2612138" cy="1959103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020" y="3044120"/>
            <a:ext cx="2570053" cy="1927539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504347" y="1289067"/>
            <a:ext cx="1431240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기아차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4512786" y="1254335"/>
            <a:ext cx="1633725" cy="26579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OSEF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국고채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0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년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490944" y="3186215"/>
            <a:ext cx="1760246" cy="316712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유니온 머티리얼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512787" y="3186507"/>
            <a:ext cx="1573238" cy="330088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인지컨트롤스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285750" indent="-285750">
              <a:buFont typeface="Arial" charset="0"/>
              <a:buChar char="•"/>
            </a:pP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(Time Steps)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변경하며 최적의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per Parameter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찾는다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27174" y="1532904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Offset 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이격현상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37699" y="1532904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Spike 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현상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27174" y="3482020"/>
            <a:ext cx="1438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Time Delay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 현상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37699" y="3482020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22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일 </a:t>
            </a:r>
            <a:r>
              <a:rPr kumimoji="1" lang="en-US" altLang="ko-KR" sz="1200" b="1" dirty="0" smtClean="0">
                <a:solidFill>
                  <a:srgbClr val="00B0F0"/>
                </a:solidFill>
              </a:rPr>
              <a:t>window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45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6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5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Insight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805" y="1278568"/>
            <a:ext cx="2532844" cy="1899633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902" y="1278568"/>
            <a:ext cx="2532844" cy="1899634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805" y="3077696"/>
            <a:ext cx="2550624" cy="1912968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923" y="3091031"/>
            <a:ext cx="2532844" cy="1899633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634055" y="1477431"/>
            <a:ext cx="1229748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교보증권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4496287" y="1416603"/>
            <a:ext cx="1229748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동원시스템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43680" y="3203396"/>
            <a:ext cx="1229748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일신석재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525163" y="3218467"/>
            <a:ext cx="1291390" cy="255876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한국가스공사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861739"/>
            <a:ext cx="8586252" cy="37035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342900" indent="-342900">
              <a:buAutoNum type="arabicPeriod"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장기적인 예측과 유사한 패턴을 보이는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Size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활용해야 함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방향성이 드물게 바뀌는 스무딩 커브를 활용 수익증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적절한 추가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발굴하여 예측의 정확도를 높여야 함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32266" y="1685303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  <a:endParaRPr kumimoji="1" lang="ko-KR" alt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05363" y="1685303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48308" y="3411618"/>
            <a:ext cx="1438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621405" y="3411618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</a:p>
        </p:txBody>
      </p:sp>
    </p:spTree>
    <p:extLst>
      <p:ext uri="{BB962C8B-B14F-4D97-AF65-F5344CB8AC3E}">
        <p14:creationId xmlns:p14="http://schemas.microsoft.com/office/powerpoint/2010/main" val="82528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7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6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추가 테스트</a:t>
            </a:r>
            <a:endParaRPr kumimoji="1" lang="ko-KR" altLang="en-US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7322673"/>
              </p:ext>
            </p:extLst>
          </p:nvPr>
        </p:nvGraphicFramePr>
        <p:xfrm>
          <a:off x="438340" y="2101161"/>
          <a:ext cx="3652398" cy="26660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9478">
                  <a:extLst>
                    <a:ext uri="{9D8B030D-6E8A-4147-A177-3AD203B41FA5}">
                      <a16:colId xmlns:a16="http://schemas.microsoft.com/office/drawing/2014/main" val="3507173917"/>
                    </a:ext>
                  </a:extLst>
                </a:gridCol>
                <a:gridCol w="828563">
                  <a:extLst>
                    <a:ext uri="{9D8B030D-6E8A-4147-A177-3AD203B41FA5}">
                      <a16:colId xmlns:a16="http://schemas.microsoft.com/office/drawing/2014/main" val="508435751"/>
                    </a:ext>
                  </a:extLst>
                </a:gridCol>
                <a:gridCol w="1050363">
                  <a:extLst>
                    <a:ext uri="{9D8B030D-6E8A-4147-A177-3AD203B41FA5}">
                      <a16:colId xmlns:a16="http://schemas.microsoft.com/office/drawing/2014/main" val="3270453042"/>
                    </a:ext>
                  </a:extLst>
                </a:gridCol>
                <a:gridCol w="1033994">
                  <a:extLst>
                    <a:ext uri="{9D8B030D-6E8A-4147-A177-3AD203B41FA5}">
                      <a16:colId xmlns:a16="http://schemas.microsoft.com/office/drawing/2014/main" val="2646469003"/>
                    </a:ext>
                  </a:extLst>
                </a:gridCol>
              </a:tblGrid>
              <a:tr h="32998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indow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Feature 5</a:t>
                      </a:r>
                      <a:endParaRPr lang="ko-KR" altLang="en-US" sz="1200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Feature</a:t>
                      </a:r>
                      <a:r>
                        <a:rPr lang="en-US" altLang="ko-KR" sz="1200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10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470017"/>
                  </a:ext>
                </a:extLst>
              </a:tr>
              <a:tr h="584029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est</a:t>
                      </a: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38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93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5842050"/>
                  </a:ext>
                </a:extLst>
              </a:tr>
              <a:tr h="5840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29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51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7283973"/>
                  </a:ext>
                </a:extLst>
              </a:tr>
              <a:tr h="5840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43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56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3765867"/>
                  </a:ext>
                </a:extLst>
              </a:tr>
              <a:tr h="5840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56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7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8076038"/>
                  </a:ext>
                </a:extLst>
              </a:tr>
            </a:tbl>
          </a:graphicData>
        </a:graphic>
      </p:graphicFrame>
      <p:sp>
        <p:nvSpPr>
          <p:cNvPr id="12" name="직사각형 11"/>
          <p:cNvSpPr/>
          <p:nvPr/>
        </p:nvSpPr>
        <p:spPr>
          <a:xfrm>
            <a:off x="4600390" y="2133245"/>
            <a:ext cx="4304704" cy="1783583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업종 </a:t>
            </a: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평균에 관한 추가 </a:t>
            </a: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eature</a:t>
            </a: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값이 </a:t>
            </a: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MSE</a:t>
            </a: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를 개선하지 못함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단가 수준이 큰 변수가 큰 영향을 주어 왜곡된 것으로 추정됨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→ 각 종목별 변화율에 대한 정보를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B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 저장하여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값이 아닌 변화율에 대한 정보를 입력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ature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로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활용하여야 정확한 결과가 나올 것으로 예상됨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784959"/>
            <a:ext cx="8394737" cy="3334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indent="-171450">
              <a:buFont typeface="Arial" charset="0"/>
              <a:buChar char="•"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종목 정보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 5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시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고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저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종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거래량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추가로 업종 정보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시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고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저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종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거래량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을 추가하여 총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의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로 학습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(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건설업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약품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음식료품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369966" y="1663761"/>
            <a:ext cx="4481240" cy="35719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평가 영역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(121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 종목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건설업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9,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약품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9,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음식료품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3))</a:t>
            </a:r>
          </a:p>
        </p:txBody>
      </p:sp>
      <p:sp>
        <p:nvSpPr>
          <p:cNvPr id="23" name="모서리가 둥근 직사각형 22"/>
          <p:cNvSpPr/>
          <p:nvPr/>
        </p:nvSpPr>
        <p:spPr>
          <a:xfrm>
            <a:off x="369966" y="1236181"/>
            <a:ext cx="3857486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코스피 </a:t>
            </a:r>
            <a:r>
              <a:rPr kumimoji="1" lang="en-US" altLang="ko-KR" sz="1200" b="1" dirty="0" smtClean="0"/>
              <a:t>121</a:t>
            </a:r>
            <a:r>
              <a:rPr kumimoji="1" lang="ko-KR" altLang="en-US" sz="1200" b="1" dirty="0" smtClean="0"/>
              <a:t>종목 예측 </a:t>
            </a:r>
            <a:r>
              <a:rPr kumimoji="1" lang="en-US" altLang="ko-KR" sz="1200" b="1" dirty="0" smtClean="0"/>
              <a:t>Loss </a:t>
            </a:r>
            <a:r>
              <a:rPr kumimoji="1" lang="ko-KR" altLang="en-US" sz="1200" b="1" dirty="0" smtClean="0"/>
              <a:t>평균</a:t>
            </a:r>
            <a:endParaRPr kumimoji="1" lang="ko-KR" altLang="en-US" sz="1200" b="1" dirty="0"/>
          </a:p>
        </p:txBody>
      </p:sp>
      <p:sp>
        <p:nvSpPr>
          <p:cNvPr id="24" name="모서리가 둥근 직사각형 23"/>
          <p:cNvSpPr/>
          <p:nvPr/>
        </p:nvSpPr>
        <p:spPr>
          <a:xfrm>
            <a:off x="4625936" y="1236181"/>
            <a:ext cx="4151812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결과 분석</a:t>
            </a:r>
            <a:endParaRPr kumimoji="1" lang="ko-KR" altLang="en-US" sz="1200" b="1" dirty="0"/>
          </a:p>
        </p:txBody>
      </p:sp>
      <p:sp>
        <p:nvSpPr>
          <p:cNvPr id="25" name="오른쪽 화살표[R] 24"/>
          <p:cNvSpPr/>
          <p:nvPr/>
        </p:nvSpPr>
        <p:spPr>
          <a:xfrm>
            <a:off x="4187347" y="2701085"/>
            <a:ext cx="449178" cy="1499937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94372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8</a:t>
            </a:fld>
            <a:endParaRPr kumimoji="1"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294967295"/>
          </p:nvPr>
        </p:nvSpPr>
        <p:spPr>
          <a:xfrm>
            <a:off x="263047" y="4767263"/>
            <a:ext cx="3086100" cy="273844"/>
          </a:xfrm>
          <a:prstGeom prst="rect">
            <a:avLst/>
          </a:prstGeom>
        </p:spPr>
        <p:txBody>
          <a:bodyPr/>
          <a:lstStyle/>
          <a:p>
            <a:r>
              <a:rPr kumimoji="1" lang="en-US" altLang="ko-KR" smtClean="0"/>
              <a:t>Team Tensor</a:t>
            </a:r>
            <a:r>
              <a:rPr kumimoji="1" lang="de-DE" altLang="ko-KR" smtClean="0"/>
              <a:t>.</a:t>
            </a:r>
            <a:r>
              <a:rPr kumimoji="1" lang="ko-KR" altLang="en-US" smtClean="0"/>
              <a:t> </a:t>
            </a:r>
            <a:r>
              <a:rPr kumimoji="1" lang="en-US" altLang="ko-KR" smtClean="0"/>
              <a:t>Copyright </a:t>
            </a:r>
            <a:r>
              <a:rPr kumimoji="1" lang="de-DE" altLang="ko-KR" smtClean="0"/>
              <a:t>© </a:t>
            </a:r>
            <a:r>
              <a:rPr kumimoji="1" lang="en-US" altLang="ko-KR" smtClean="0"/>
              <a:t>All rights reserved.</a:t>
            </a:r>
            <a:endParaRPr kumimoji="1" lang="ko-KR" altLang="en-US" dirty="0"/>
          </a:p>
        </p:txBody>
      </p:sp>
      <p:sp>
        <p:nvSpPr>
          <p:cNvPr id="6" name="제목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3</a:t>
            </a:r>
            <a:endParaRPr kumimoji="1"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ko-KR" altLang="en-US" dirty="0" smtClean="0"/>
              <a:t>아키텍쳐와</a:t>
            </a:r>
            <a:endParaRPr kumimoji="1" lang="en-US" altLang="ko-KR" dirty="0" smtClean="0"/>
          </a:p>
          <a:p>
            <a:r>
              <a:rPr kumimoji="1" lang="en-US" altLang="ko-KR" dirty="0" smtClean="0"/>
              <a:t>UI</a:t>
            </a:r>
            <a:r>
              <a:rPr kumimoji="1" lang="ko-KR" altLang="en-US" dirty="0" smtClean="0"/>
              <a:t> 구성</a:t>
            </a:r>
            <a:endParaRPr kumimoji="1" lang="ko-KR" altLang="en-US" dirty="0"/>
          </a:p>
        </p:txBody>
      </p:sp>
      <p:sp>
        <p:nvSpPr>
          <p:cNvPr id="8" name="내용 개체 틀 7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kumimoji="1" lang="ko-KR" altLang="en-US" dirty="0" smtClean="0"/>
              <a:t>아키텍쳐</a:t>
            </a:r>
            <a:endParaRPr kumimoji="1" lang="en-US" altLang="ko-KR" dirty="0" smtClean="0"/>
          </a:p>
          <a:p>
            <a:endParaRPr kumimoji="1" lang="en-US" altLang="ko-KR" dirty="0"/>
          </a:p>
          <a:p>
            <a:r>
              <a:rPr kumimoji="1" lang="en-US" altLang="ko-KR" dirty="0" smtClean="0"/>
              <a:t>UI</a:t>
            </a:r>
            <a:r>
              <a:rPr kumimoji="1" lang="ko-KR" altLang="en-US" dirty="0" smtClean="0"/>
              <a:t>디자인</a:t>
            </a:r>
            <a:endParaRPr kumimoji="1" lang="en-US" altLang="ko-KR" dirty="0" smtClean="0"/>
          </a:p>
          <a:p>
            <a:endParaRPr kumimoji="1" lang="en-US" altLang="ko-KR" dirty="0"/>
          </a:p>
          <a:p>
            <a:r>
              <a:rPr kumimoji="1" lang="ko-KR" altLang="en-US" dirty="0" smtClean="0"/>
              <a:t>주가 예측 시연</a:t>
            </a:r>
            <a:endParaRPr kumimoji="1"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43487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9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Architecture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1</a:t>
            </a:r>
            <a:r>
              <a:rPr lang="ko-KR" altLang="en-US" dirty="0" smtClean="0"/>
              <a:t>차 시도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3796" y="3095072"/>
            <a:ext cx="690626" cy="677062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914" y="2032294"/>
            <a:ext cx="756070" cy="76788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28961" y="2817112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ko-KR" altLang="en-US" sz="1000" b="1" spc="-150" dirty="0" smtClean="0">
                <a:latin typeface="+mj-ea"/>
                <a:ea typeface="+mj-ea"/>
              </a:rPr>
              <a:t>대신증권 </a:t>
            </a:r>
            <a:r>
              <a:rPr lang="en-US" altLang="ko-KR" sz="1000" b="1" spc="-150" dirty="0" smtClean="0">
                <a:latin typeface="+mj-ea"/>
                <a:ea typeface="+mj-ea"/>
              </a:rPr>
              <a:t>API</a:t>
            </a:r>
            <a:endParaRPr lang="ko-KR" altLang="en-US" sz="1000" b="1" spc="-150" dirty="0">
              <a:latin typeface="+mj-ea"/>
              <a:ea typeface="+mj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3346" y="2094602"/>
            <a:ext cx="690626" cy="67942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688662" y="2774028"/>
            <a:ext cx="1175617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ko-KR" altLang="en-US" sz="1000" b="1" spc="-150" dirty="0" smtClean="0">
                <a:latin typeface="+mj-ea"/>
                <a:ea typeface="+mj-ea"/>
              </a:rPr>
              <a:t>워크벤치</a:t>
            </a:r>
            <a:r>
              <a:rPr lang="ko-KR" altLang="en-US" sz="1000" b="1" spc="-150" dirty="0">
                <a:latin typeface="+mj-ea"/>
                <a:ea typeface="+mj-ea"/>
              </a:rPr>
              <a:t> </a:t>
            </a:r>
            <a:r>
              <a:rPr lang="ko-KR" altLang="en-US" sz="1000" b="1" spc="-150" dirty="0" smtClean="0">
                <a:latin typeface="+mj-ea"/>
                <a:ea typeface="+mj-ea"/>
              </a:rPr>
              <a:t>설치</a:t>
            </a:r>
            <a:endParaRPr lang="en-US" altLang="ko-KR" sz="1000" b="1" spc="-150" dirty="0" smtClean="0">
              <a:latin typeface="+mj-ea"/>
              <a:ea typeface="+mj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70656" y="3813344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 Local MYSQL</a:t>
            </a:r>
            <a:endParaRPr lang="ko-KR" altLang="en-US" sz="1000" b="1" spc="-150" dirty="0">
              <a:latin typeface="+mj-ea"/>
              <a:ea typeface="+mj-ea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790075" y="1989184"/>
            <a:ext cx="980270" cy="206520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45"/>
          <p:cNvSpPr/>
          <p:nvPr/>
        </p:nvSpPr>
        <p:spPr>
          <a:xfrm>
            <a:off x="2253839" y="2281010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4445715" y="4178034"/>
            <a:ext cx="1940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원 전체 설치 및</a:t>
            </a:r>
            <a:endParaRPr lang="en-US" altLang="ko-KR" sz="1200" dirty="0" smtClean="0"/>
          </a:p>
          <a:p>
            <a:r>
              <a:rPr lang="en-US" altLang="ko-KR" sz="1200" dirty="0" smtClean="0"/>
              <a:t> DB Test</a:t>
            </a:r>
            <a:br>
              <a:rPr lang="en-US" altLang="ko-KR" sz="1200" dirty="0" smtClean="0"/>
            </a:br>
            <a:r>
              <a:rPr lang="en-US" altLang="ko-KR" sz="1200" dirty="0" smtClean="0"/>
              <a:t>(MAC, Windows, Linux)</a:t>
            </a:r>
            <a:endParaRPr lang="ko-KR" altLang="en-US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693746" y="4178034"/>
            <a:ext cx="15634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대신증권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en-US" altLang="ko-KR" sz="1200" dirty="0" smtClean="0"/>
              <a:t>(Window 32bit </a:t>
            </a:r>
            <a:r>
              <a:rPr lang="ko-KR" altLang="en-US" sz="1200" dirty="0" smtClean="0"/>
              <a:t>환경</a:t>
            </a:r>
            <a:r>
              <a:rPr lang="en-US" altLang="ko-KR" sz="1200" dirty="0" smtClean="0"/>
              <a:t>)</a:t>
            </a:r>
            <a:endParaRPr lang="ko-KR" altLang="en-US" sz="1200" dirty="0"/>
          </a:p>
        </p:txBody>
      </p:sp>
      <p:sp>
        <p:nvSpPr>
          <p:cNvPr id="19" name="오른쪽 화살표 48"/>
          <p:cNvSpPr/>
          <p:nvPr/>
        </p:nvSpPr>
        <p:spPr>
          <a:xfrm>
            <a:off x="6228993" y="2131256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1440" y="2054774"/>
            <a:ext cx="704850" cy="70485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787746" y="2824455"/>
            <a:ext cx="993950" cy="386464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PyCharm 32 Bit</a:t>
            </a:r>
          </a:p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Anaconda</a:t>
            </a:r>
            <a:endParaRPr lang="ko-KR" altLang="en-US" sz="1000" b="1" spc="-150" dirty="0">
              <a:latin typeface="+mj-ea"/>
              <a:ea typeface="+mj-ea"/>
            </a:endParaRPr>
          </a:p>
        </p:txBody>
      </p:sp>
      <p:sp>
        <p:nvSpPr>
          <p:cNvPr id="22" name="오른쪽 화살표 59"/>
          <p:cNvSpPr/>
          <p:nvPr/>
        </p:nvSpPr>
        <p:spPr>
          <a:xfrm>
            <a:off x="4067122" y="2258258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cxnSp>
        <p:nvCxnSpPr>
          <p:cNvPr id="23" name="직선 연결선 66"/>
          <p:cNvCxnSpPr/>
          <p:nvPr/>
        </p:nvCxnSpPr>
        <p:spPr>
          <a:xfrm>
            <a:off x="2413241" y="1817605"/>
            <a:ext cx="0" cy="3081475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720528" y="4178034"/>
            <a:ext cx="1298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시세정보 </a:t>
            </a:r>
            <a:r>
              <a:rPr lang="en-US" altLang="ko-KR" sz="1200" dirty="0" smtClean="0"/>
              <a:t>API</a:t>
            </a:r>
            <a:r>
              <a:rPr lang="ko-KR" altLang="en-US" sz="1200" dirty="0" smtClean="0"/>
              <a:t>로</a:t>
            </a:r>
            <a:endParaRPr lang="en-US" altLang="ko-KR" sz="1200" dirty="0" smtClean="0"/>
          </a:p>
          <a:p>
            <a:r>
              <a:rPr lang="ko-KR" altLang="en-US" sz="1200" dirty="0" smtClean="0"/>
              <a:t>불러와서 </a:t>
            </a:r>
            <a:endParaRPr lang="en-US" altLang="ko-KR" sz="1200" dirty="0" smtClean="0"/>
          </a:p>
          <a:p>
            <a:r>
              <a:rPr lang="en-US" altLang="ko-KR" sz="1200" dirty="0" smtClean="0"/>
              <a:t>MYSQL </a:t>
            </a:r>
            <a:r>
              <a:rPr lang="ko-KR" altLang="en-US" sz="1200" dirty="0" smtClean="0"/>
              <a:t>저장</a:t>
            </a:r>
            <a:endParaRPr lang="ko-KR" altLang="en-US" sz="1200" dirty="0"/>
          </a:p>
        </p:txBody>
      </p:sp>
      <p:cxnSp>
        <p:nvCxnSpPr>
          <p:cNvPr id="25" name="직선 연결선 70"/>
          <p:cNvCxnSpPr/>
          <p:nvPr/>
        </p:nvCxnSpPr>
        <p:spPr>
          <a:xfrm>
            <a:off x="4229061" y="1788548"/>
            <a:ext cx="0" cy="3081475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71"/>
          <p:cNvCxnSpPr/>
          <p:nvPr/>
        </p:nvCxnSpPr>
        <p:spPr>
          <a:xfrm>
            <a:off x="6394535" y="1779475"/>
            <a:ext cx="0" cy="3081475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9210" y="2053352"/>
            <a:ext cx="704850" cy="70485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7009081" y="2757081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PyCharm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701152" y="2947087"/>
            <a:ext cx="176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업종별 시세 정보 가공</a:t>
            </a:r>
            <a:endParaRPr lang="en-US" altLang="ko-KR" sz="1200" dirty="0" smtClean="0"/>
          </a:p>
          <a:p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endParaRPr lang="ko-KR" altLang="en-US" sz="1200" dirty="0"/>
          </a:p>
        </p:txBody>
      </p:sp>
      <p:sp>
        <p:nvSpPr>
          <p:cNvPr id="30" name="오른쪽 화살표 75"/>
          <p:cNvSpPr/>
          <p:nvPr/>
        </p:nvSpPr>
        <p:spPr>
          <a:xfrm rot="10800000">
            <a:off x="6193149" y="2411117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4673" y="3496215"/>
            <a:ext cx="1230595" cy="455275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34673" y="4024342"/>
            <a:ext cx="1208920" cy="393709"/>
          </a:xfrm>
          <a:prstGeom prst="rect">
            <a:avLst/>
          </a:prstGeom>
        </p:spPr>
      </p:pic>
      <p:sp>
        <p:nvSpPr>
          <p:cNvPr id="33" name="오른쪽 화살표 79"/>
          <p:cNvSpPr/>
          <p:nvPr/>
        </p:nvSpPr>
        <p:spPr>
          <a:xfrm>
            <a:off x="6238170" y="3747900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7190208" y="4439044"/>
            <a:ext cx="881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</a:rPr>
              <a:t>에러발생</a:t>
            </a:r>
            <a:endParaRPr lang="ko-KR" altLang="en-US" sz="1200" b="1" dirty="0">
              <a:solidFill>
                <a:srgbClr val="FF0000"/>
              </a:solidFill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817269" y="3399339"/>
            <a:ext cx="1452292" cy="13919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Freeform 46"/>
          <p:cNvSpPr/>
          <p:nvPr/>
        </p:nvSpPr>
        <p:spPr>
          <a:xfrm rot="5400000">
            <a:off x="5174425" y="74904"/>
            <a:ext cx="215590" cy="3030424"/>
          </a:xfrm>
          <a:custGeom>
            <a:avLst/>
            <a:gdLst>
              <a:gd name="connsiteX0" fmla="*/ 0 w 26894"/>
              <a:gd name="connsiteY0" fmla="*/ 2043953 h 2043953"/>
              <a:gd name="connsiteX1" fmla="*/ 26894 w 26894"/>
              <a:gd name="connsiteY1" fmla="*/ 0 h 2043953"/>
              <a:gd name="connsiteX0" fmla="*/ 0 w 11019"/>
              <a:gd name="connsiteY0" fmla="*/ 2043953 h 2043953"/>
              <a:gd name="connsiteX1" fmla="*/ 11019 w 11019"/>
              <a:gd name="connsiteY1" fmla="*/ 0 h 2043953"/>
              <a:gd name="connsiteX0" fmla="*/ 195316 w 206335"/>
              <a:gd name="connsiteY0" fmla="*/ 2043953 h 2043953"/>
              <a:gd name="connsiteX1" fmla="*/ 206335 w 206335"/>
              <a:gd name="connsiteY1" fmla="*/ 0 h 2043953"/>
              <a:gd name="connsiteX0" fmla="*/ 193718 w 211087"/>
              <a:gd name="connsiteY0" fmla="*/ 2050303 h 2050303"/>
              <a:gd name="connsiteX1" fmla="*/ 211087 w 211087"/>
              <a:gd name="connsiteY1" fmla="*/ 0 h 2050303"/>
              <a:gd name="connsiteX0" fmla="*/ 264704 w 282073"/>
              <a:gd name="connsiteY0" fmla="*/ 2050303 h 2050303"/>
              <a:gd name="connsiteX1" fmla="*/ 282073 w 282073"/>
              <a:gd name="connsiteY1" fmla="*/ 0 h 2050303"/>
              <a:gd name="connsiteX0" fmla="*/ 265970 w 280164"/>
              <a:gd name="connsiteY0" fmla="*/ 2047128 h 2047128"/>
              <a:gd name="connsiteX1" fmla="*/ 280164 w 280164"/>
              <a:gd name="connsiteY1" fmla="*/ 0 h 2047128"/>
              <a:gd name="connsiteX0" fmla="*/ 237097 w 251291"/>
              <a:gd name="connsiteY0" fmla="*/ 2047128 h 2047128"/>
              <a:gd name="connsiteX1" fmla="*/ 251291 w 251291"/>
              <a:gd name="connsiteY1" fmla="*/ 0 h 2047128"/>
              <a:gd name="connsiteX0" fmla="*/ 216588 w 230782"/>
              <a:gd name="connsiteY0" fmla="*/ 2047128 h 2047128"/>
              <a:gd name="connsiteX1" fmla="*/ 230782 w 230782"/>
              <a:gd name="connsiteY1" fmla="*/ 0 h 2047128"/>
              <a:gd name="connsiteX0" fmla="*/ 220394 w 234588"/>
              <a:gd name="connsiteY0" fmla="*/ 2047128 h 2047128"/>
              <a:gd name="connsiteX1" fmla="*/ 234588 w 234588"/>
              <a:gd name="connsiteY1" fmla="*/ 0 h 2047128"/>
              <a:gd name="connsiteX0" fmla="*/ 229283 w 243477"/>
              <a:gd name="connsiteY0" fmla="*/ 2047128 h 2047128"/>
              <a:gd name="connsiteX1" fmla="*/ 243477 w 243477"/>
              <a:gd name="connsiteY1" fmla="*/ 0 h 2047128"/>
              <a:gd name="connsiteX0" fmla="*/ 220395 w 234589"/>
              <a:gd name="connsiteY0" fmla="*/ 2047128 h 2047128"/>
              <a:gd name="connsiteX1" fmla="*/ 234589 w 234589"/>
              <a:gd name="connsiteY1" fmla="*/ 0 h 2047128"/>
              <a:gd name="connsiteX0" fmla="*/ 225922 w 240116"/>
              <a:gd name="connsiteY0" fmla="*/ 2047128 h 2047128"/>
              <a:gd name="connsiteX1" fmla="*/ 240116 w 240116"/>
              <a:gd name="connsiteY1" fmla="*/ 0 h 2047128"/>
              <a:gd name="connsiteX0" fmla="*/ 223700 w 237894"/>
              <a:gd name="connsiteY0" fmla="*/ 2047128 h 2047128"/>
              <a:gd name="connsiteX1" fmla="*/ 237894 w 237894"/>
              <a:gd name="connsiteY1" fmla="*/ 0 h 2047128"/>
              <a:gd name="connsiteX0" fmla="*/ 222595 w 236789"/>
              <a:gd name="connsiteY0" fmla="*/ 2047128 h 2047128"/>
              <a:gd name="connsiteX1" fmla="*/ 236789 w 236789"/>
              <a:gd name="connsiteY1" fmla="*/ 0 h 2047128"/>
              <a:gd name="connsiteX0" fmla="*/ 220066 w 234260"/>
              <a:gd name="connsiteY0" fmla="*/ 2047128 h 2047128"/>
              <a:gd name="connsiteX1" fmla="*/ 234260 w 234260"/>
              <a:gd name="connsiteY1" fmla="*/ 0 h 2047128"/>
              <a:gd name="connsiteX0" fmla="*/ 223861 w 238055"/>
              <a:gd name="connsiteY0" fmla="*/ 2047128 h 2047128"/>
              <a:gd name="connsiteX1" fmla="*/ 238055 w 238055"/>
              <a:gd name="connsiteY1" fmla="*/ 0 h 2047128"/>
              <a:gd name="connsiteX0" fmla="*/ 221668 w 235862"/>
              <a:gd name="connsiteY0" fmla="*/ 2047128 h 2047128"/>
              <a:gd name="connsiteX1" fmla="*/ 235862 w 235862"/>
              <a:gd name="connsiteY1" fmla="*/ 0 h 2047128"/>
              <a:gd name="connsiteX0" fmla="*/ 218406 w 232600"/>
              <a:gd name="connsiteY0" fmla="*/ 2047128 h 2047128"/>
              <a:gd name="connsiteX1" fmla="*/ 232600 w 232600"/>
              <a:gd name="connsiteY1" fmla="*/ 0 h 2047128"/>
              <a:gd name="connsiteX0" fmla="*/ 219489 w 233683"/>
              <a:gd name="connsiteY0" fmla="*/ 2047128 h 2047128"/>
              <a:gd name="connsiteX1" fmla="*/ 233683 w 233683"/>
              <a:gd name="connsiteY1" fmla="*/ 0 h 204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3683" h="2047128">
                <a:moveTo>
                  <a:pt x="219489" y="2047128"/>
                </a:moveTo>
                <a:cubicBezTo>
                  <a:pt x="-116563" y="1238810"/>
                  <a:pt x="-30340" y="563843"/>
                  <a:pt x="233683" y="0"/>
                </a:cubicBezTo>
              </a:path>
            </a:pathLst>
          </a:custGeom>
          <a:noFill/>
          <a:ln w="28575">
            <a:solidFill>
              <a:schemeClr val="tx1">
                <a:lumMod val="65000"/>
                <a:lumOff val="35000"/>
              </a:schemeClr>
            </a:solidFill>
            <a:prstDash val="sysDot"/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629227" y="1525537"/>
            <a:ext cx="1580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rgbClr val="FF0000"/>
                </a:solidFill>
              </a:rPr>
              <a:t>1</a:t>
            </a:r>
            <a:r>
              <a:rPr lang="ko-KR" altLang="en-US" sz="1200" b="1" dirty="0" smtClean="0">
                <a:solidFill>
                  <a:srgbClr val="FF0000"/>
                </a:solidFill>
              </a:rPr>
              <a:t>개의 시스템 구성</a:t>
            </a:r>
            <a:endParaRPr lang="en-US" altLang="ko-KR" sz="1200" b="1" dirty="0" smtClean="0">
              <a:solidFill>
                <a:srgbClr val="FF0000"/>
              </a:solidFill>
            </a:endParaRPr>
          </a:p>
          <a:p>
            <a:r>
              <a:rPr lang="ko-KR" altLang="en-US" sz="1200" b="1" dirty="0" smtClean="0">
                <a:solidFill>
                  <a:srgbClr val="FF0000"/>
                </a:solidFill>
              </a:rPr>
              <a:t>상호 참조</a:t>
            </a:r>
            <a:endParaRPr lang="ko-KR" altLang="en-US" sz="1200" b="1" dirty="0">
              <a:solidFill>
                <a:srgbClr val="FF0000"/>
              </a:solidFill>
            </a:endParaRPr>
          </a:p>
        </p:txBody>
      </p:sp>
      <p:sp>
        <p:nvSpPr>
          <p:cNvPr id="38" name="텍스트 개체 틀 1"/>
          <p:cNvSpPr txBox="1">
            <a:spLocks/>
          </p:cNvSpPr>
          <p:nvPr/>
        </p:nvSpPr>
        <p:spPr>
          <a:xfrm>
            <a:off x="407502" y="861739"/>
            <a:ext cx="8394737" cy="37035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indent="-171450">
              <a:buFont typeface="Arial" charset="0"/>
              <a:buChar char="•"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차 시도를 통해 조원 전체가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ySQL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과 워크벤치 활용법을 배우게 되었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1450" indent="-171450">
              <a:buFont typeface="Arial" charset="0"/>
              <a:buChar char="•"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차 시도의 실패 원인은 대신증권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PI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환경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Window 32bit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과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inux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기반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PU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환경의 충돌이었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429519" y="142540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1</a:t>
            </a:r>
            <a:r>
              <a:rPr kumimoji="1" lang="ko-KR" altLang="en-US" sz="1200" b="1" dirty="0" smtClean="0"/>
              <a:t>차 시도</a:t>
            </a:r>
            <a:endParaRPr kumimoji="1"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315175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</a:t>
            </a:fld>
            <a:endParaRPr kumimoji="1" lang="ko-KR" altLang="en-US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_</a:t>
            </a:r>
            <a:endParaRPr kumimoji="1"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ko-KR" altLang="en-US" dirty="0" smtClean="0"/>
              <a:t>차례</a:t>
            </a:r>
            <a:endParaRPr kumimoji="1" lang="ko-KR" altLang="en-US" dirty="0"/>
          </a:p>
        </p:txBody>
      </p:sp>
      <p:sp>
        <p:nvSpPr>
          <p:cNvPr id="6" name="내용 개체 틀 5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Background &amp; Summar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pc="-45" dirty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1. </a:t>
            </a:r>
            <a:r>
              <a:rPr lang="ko-KR" altLang="en-US" spc="-45" dirty="0" smtClean="0">
                <a:latin typeface="+mn-ea"/>
              </a:rPr>
              <a:t>금융권 기술도입 현황</a:t>
            </a:r>
            <a:endParaRPr lang="en-US" altLang="ko-KR" spc="-45" dirty="0" smtClean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pc="-45" dirty="0" smtClean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2.</a:t>
            </a:r>
            <a:r>
              <a:rPr lang="ko-KR" altLang="en-US" spc="-45" dirty="0" smtClean="0">
                <a:latin typeface="+mn-ea"/>
              </a:rPr>
              <a:t> </a:t>
            </a:r>
            <a:r>
              <a:rPr lang="en-US" altLang="ko-KR" spc="-45" dirty="0" smtClean="0">
                <a:latin typeface="+mn-ea"/>
              </a:rPr>
              <a:t>LSTM</a:t>
            </a:r>
            <a:r>
              <a:rPr lang="ko-KR" altLang="en-US" spc="-45" dirty="0" smtClean="0">
                <a:latin typeface="+mn-ea"/>
              </a:rPr>
              <a:t>을 이용한 주가분석 과정</a:t>
            </a:r>
            <a:endParaRPr lang="en-US" altLang="ko-KR" spc="-45" dirty="0" smtClean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pc="-45" dirty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3.</a:t>
            </a:r>
            <a:r>
              <a:rPr lang="ko-KR" altLang="en-US" spc="-45" dirty="0" smtClean="0">
                <a:latin typeface="+mn-ea"/>
              </a:rPr>
              <a:t> 아키텍쳐와 </a:t>
            </a:r>
            <a:r>
              <a:rPr lang="en-US" altLang="ko-KR" spc="-45" dirty="0" smtClean="0">
                <a:latin typeface="+mn-ea"/>
              </a:rPr>
              <a:t>UI</a:t>
            </a:r>
            <a:r>
              <a:rPr lang="ko-KR" altLang="en-US" spc="-45" dirty="0" smtClean="0">
                <a:latin typeface="+mn-ea"/>
              </a:rPr>
              <a:t> 구성</a:t>
            </a:r>
            <a:endParaRPr lang="en-US" altLang="ko-KR" spc="-45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954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0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Architecture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최종 시스템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6000" y="1517924"/>
            <a:ext cx="594005" cy="582339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6448" y="2854116"/>
            <a:ext cx="455861" cy="46298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25561" y="3456395"/>
            <a:ext cx="28169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</a:rPr>
              <a:t>System 1</a:t>
            </a:r>
          </a:p>
          <a:p>
            <a:endParaRPr lang="en-US" altLang="ko-KR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Win32bit </a:t>
            </a:r>
            <a:r>
              <a:rPr lang="ko-KR" altLang="en-US" sz="1200" dirty="0" smtClean="0"/>
              <a:t>환경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대신증권 시세정보 </a:t>
            </a:r>
            <a:r>
              <a:rPr lang="en-US" altLang="ko-KR" sz="1200" dirty="0" smtClean="0"/>
              <a:t>Re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종목별 시세정보 </a:t>
            </a:r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업종별 시세정보 가공하여 </a:t>
            </a:r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r>
              <a:rPr lang="en-US" altLang="ko-KR" sz="1200" dirty="0" smtClean="0"/>
              <a:t> </a:t>
            </a:r>
            <a:endParaRPr lang="ko-KR" altLang="en-US" sz="1200" dirty="0"/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7449" y="2856791"/>
            <a:ext cx="467251" cy="467251"/>
          </a:xfrm>
          <a:prstGeom prst="rect">
            <a:avLst/>
          </a:prstGeom>
        </p:spPr>
      </p:pic>
      <p:sp>
        <p:nvSpPr>
          <p:cNvPr id="13" name="오른쪽 화살표 59"/>
          <p:cNvSpPr/>
          <p:nvPr/>
        </p:nvSpPr>
        <p:spPr>
          <a:xfrm rot="19679473">
            <a:off x="2992874" y="2319330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2288" y="2923288"/>
            <a:ext cx="926176" cy="34265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2214" y="2924729"/>
            <a:ext cx="997581" cy="324882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3199618" y="2802194"/>
            <a:ext cx="3591664" cy="5929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5178" y="1550580"/>
            <a:ext cx="733771" cy="516272"/>
          </a:xfrm>
          <a:prstGeom prst="rect">
            <a:avLst/>
          </a:prstGeom>
        </p:spPr>
      </p:pic>
      <p:sp>
        <p:nvSpPr>
          <p:cNvPr id="18" name="직사각형 17"/>
          <p:cNvSpPr/>
          <p:nvPr/>
        </p:nvSpPr>
        <p:spPr>
          <a:xfrm>
            <a:off x="3987307" y="1418987"/>
            <a:ext cx="1768011" cy="78472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64537" y="2858057"/>
            <a:ext cx="488819" cy="480891"/>
          </a:xfrm>
          <a:prstGeom prst="rect">
            <a:avLst/>
          </a:prstGeom>
        </p:spPr>
      </p:pic>
      <p:sp>
        <p:nvSpPr>
          <p:cNvPr id="20" name="오른쪽 화살표 49"/>
          <p:cNvSpPr/>
          <p:nvPr/>
        </p:nvSpPr>
        <p:spPr>
          <a:xfrm rot="16200000">
            <a:off x="4739635" y="2346089"/>
            <a:ext cx="355407" cy="272715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90495" y="2848697"/>
            <a:ext cx="476125" cy="468403"/>
          </a:xfrm>
          <a:prstGeom prst="rect">
            <a:avLst/>
          </a:prstGeom>
        </p:spPr>
      </p:pic>
      <p:sp>
        <p:nvSpPr>
          <p:cNvPr id="22" name="직사각형 21"/>
          <p:cNvSpPr/>
          <p:nvPr/>
        </p:nvSpPr>
        <p:spPr>
          <a:xfrm>
            <a:off x="382242" y="2795619"/>
            <a:ext cx="2650451" cy="5929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7503" y="2853516"/>
            <a:ext cx="488384" cy="488384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4795" y="2847855"/>
            <a:ext cx="519113" cy="458437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98051" y="3367759"/>
            <a:ext cx="1029251" cy="384823"/>
          </a:xfrm>
          <a:prstGeom prst="rect">
            <a:avLst/>
          </a:prstGeom>
        </p:spPr>
      </p:pic>
      <p:cxnSp>
        <p:nvCxnSpPr>
          <p:cNvPr id="26" name="직선 연결선 60"/>
          <p:cNvCxnSpPr/>
          <p:nvPr/>
        </p:nvCxnSpPr>
        <p:spPr>
          <a:xfrm>
            <a:off x="399020" y="3792420"/>
            <a:ext cx="10770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61"/>
          <p:cNvCxnSpPr/>
          <p:nvPr/>
        </p:nvCxnSpPr>
        <p:spPr>
          <a:xfrm>
            <a:off x="3115901" y="2795619"/>
            <a:ext cx="0" cy="2020991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62"/>
          <p:cNvCxnSpPr/>
          <p:nvPr/>
        </p:nvCxnSpPr>
        <p:spPr>
          <a:xfrm>
            <a:off x="6865424" y="2795619"/>
            <a:ext cx="0" cy="1951979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188563" y="3464559"/>
            <a:ext cx="321748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</a:rPr>
              <a:t>System 2</a:t>
            </a:r>
          </a:p>
          <a:p>
            <a:endParaRPr lang="en-US" altLang="ko-KR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리눅스 우분투 </a:t>
            </a:r>
            <a:r>
              <a:rPr lang="en-US" altLang="ko-KR" sz="1200" dirty="0" smtClean="0"/>
              <a:t>GPU1070 </a:t>
            </a:r>
            <a:r>
              <a:rPr lang="ko-KR" altLang="en-US" sz="1200" dirty="0" smtClean="0"/>
              <a:t>환경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KERAS </a:t>
            </a:r>
            <a:r>
              <a:rPr lang="ko-KR" altLang="en-US" sz="1200" dirty="0" smtClean="0"/>
              <a:t>활용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DB</a:t>
            </a:r>
            <a:r>
              <a:rPr lang="ko-KR" altLang="en-US" sz="1200" dirty="0" smtClean="0"/>
              <a:t>에 저장된 종목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업종 시세정보 읽어서 </a:t>
            </a:r>
            <a:endParaRPr lang="en-US" altLang="ko-KR" sz="1200" dirty="0" smtClean="0"/>
          </a:p>
          <a:p>
            <a:r>
              <a:rPr lang="en-US" altLang="ko-KR" sz="1200" dirty="0" smtClean="0"/>
              <a:t>   LSTM</a:t>
            </a:r>
            <a:r>
              <a:rPr lang="ko-KR" altLang="en-US" sz="1200" dirty="0" smtClean="0"/>
              <a:t> 학습 및 결과 </a:t>
            </a:r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endParaRPr lang="ko-KR" altLang="en-US" sz="1200" dirty="0"/>
          </a:p>
        </p:txBody>
      </p:sp>
      <p:cxnSp>
        <p:nvCxnSpPr>
          <p:cNvPr id="30" name="직선 연결선 64"/>
          <p:cNvCxnSpPr/>
          <p:nvPr/>
        </p:nvCxnSpPr>
        <p:spPr>
          <a:xfrm>
            <a:off x="3281488" y="3796613"/>
            <a:ext cx="10770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그림 3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02265" y="2858288"/>
            <a:ext cx="414062" cy="453707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88963" y="2950285"/>
            <a:ext cx="879991" cy="240903"/>
          </a:xfrm>
          <a:prstGeom prst="rect">
            <a:avLst/>
          </a:prstGeom>
        </p:spPr>
      </p:pic>
      <p:sp>
        <p:nvSpPr>
          <p:cNvPr id="33" name="직사각형 32"/>
          <p:cNvSpPr/>
          <p:nvPr/>
        </p:nvSpPr>
        <p:spPr>
          <a:xfrm>
            <a:off x="6950524" y="2795121"/>
            <a:ext cx="1856432" cy="10257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6956924" y="3888215"/>
            <a:ext cx="185003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</a:rPr>
              <a:t>System 3</a:t>
            </a:r>
          </a:p>
          <a:p>
            <a:endParaRPr lang="en-US" altLang="ko-KR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Web </a:t>
            </a:r>
            <a:r>
              <a:rPr lang="ko-KR" altLang="en-US" sz="1200" dirty="0" smtClean="0"/>
              <a:t>개발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CANDLE </a:t>
            </a:r>
            <a:r>
              <a:rPr lang="ko-KR" altLang="en-US" sz="1200" dirty="0" smtClean="0"/>
              <a:t>차트 구성</a:t>
            </a:r>
            <a:endParaRPr lang="ko-KR" altLang="en-US" sz="1200" dirty="0"/>
          </a:p>
        </p:txBody>
      </p:sp>
      <p:cxnSp>
        <p:nvCxnSpPr>
          <p:cNvPr id="35" name="직선 연결선 68"/>
          <p:cNvCxnSpPr/>
          <p:nvPr/>
        </p:nvCxnSpPr>
        <p:spPr>
          <a:xfrm>
            <a:off x="7017635" y="4229038"/>
            <a:ext cx="10770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그림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10029" y="3273636"/>
            <a:ext cx="405828" cy="456346"/>
          </a:xfrm>
          <a:prstGeom prst="rect">
            <a:avLst/>
          </a:prstGeom>
        </p:spPr>
      </p:pic>
      <p:sp>
        <p:nvSpPr>
          <p:cNvPr id="37" name="오른쪽 화살표 76"/>
          <p:cNvSpPr/>
          <p:nvPr/>
        </p:nvSpPr>
        <p:spPr>
          <a:xfrm rot="12611893">
            <a:off x="6472551" y="2379613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39" name="모서리가 둥근 직사각형 38"/>
          <p:cNvSpPr/>
          <p:nvPr/>
        </p:nvSpPr>
        <p:spPr>
          <a:xfrm>
            <a:off x="429519" y="142540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최종 </a:t>
            </a:r>
            <a:r>
              <a:rPr kumimoji="1" lang="en-US" altLang="ko-KR" sz="1200" b="1" dirty="0" smtClean="0"/>
              <a:t>Architecture</a:t>
            </a:r>
            <a:endParaRPr kumimoji="1" lang="ko-KR" altLang="en-US" sz="1200" b="1" dirty="0"/>
          </a:p>
        </p:txBody>
      </p:sp>
      <p:sp>
        <p:nvSpPr>
          <p:cNvPr id="40" name="텍스트 개체 틀 1"/>
          <p:cNvSpPr txBox="1">
            <a:spLocks/>
          </p:cNvSpPr>
          <p:nvPr/>
        </p:nvSpPr>
        <p:spPr>
          <a:xfrm>
            <a:off x="407502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indent="-171450">
              <a:buFont typeface="Arial" charset="0"/>
              <a:buChar char="•"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B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loud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공유하였으며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시스템 구성을 분리하여 다양한 환경에서 접속하도록 </a:t>
            </a:r>
            <a:r>
              <a:rPr lang="en-US" altLang="ko-KR" dirty="0" smtClean="0">
                <a:solidFill>
                  <a:srgbClr val="00B0F0"/>
                </a:solidFill>
              </a:rPr>
              <a:t>3</a:t>
            </a:r>
            <a:r>
              <a:rPr lang="ko-KR" altLang="en-US" dirty="0" smtClean="0">
                <a:solidFill>
                  <a:srgbClr val="00B0F0"/>
                </a:solidFill>
              </a:rPr>
              <a:t>개의 시스템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으로 구조변경하였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226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1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UI</a:t>
            </a:r>
            <a:r>
              <a:rPr lang="ko-KR" altLang="en-US" dirty="0" smtClean="0"/>
              <a:t> 디자인</a:t>
            </a:r>
            <a:endParaRPr kumimoji="1" lang="ko-KR" altLang="en-US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2"/>
          <a:srcRect l="-1" r="133" b="2095"/>
          <a:stretch/>
        </p:blipFill>
        <p:spPr>
          <a:xfrm>
            <a:off x="2696640" y="1262125"/>
            <a:ext cx="6115869" cy="343166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0" name="텍스트 개체 틀 1"/>
          <p:cNvSpPr txBox="1">
            <a:spLocks/>
          </p:cNvSpPr>
          <p:nvPr/>
        </p:nvSpPr>
        <p:spPr>
          <a:xfrm>
            <a:off x="407502" y="861739"/>
            <a:ext cx="8394737" cy="18466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ketch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프로그램을 활용하여 아래와 같은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I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디자인을 구성하였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429519" y="126212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최초 </a:t>
            </a:r>
            <a:r>
              <a:rPr kumimoji="1" lang="en-US" altLang="ko-KR" sz="1200" b="1" dirty="0" smtClean="0"/>
              <a:t>UI</a:t>
            </a:r>
            <a:r>
              <a:rPr kumimoji="1" lang="ko-KR" altLang="en-US" sz="1200" b="1" dirty="0" smtClean="0"/>
              <a:t> 디자인</a:t>
            </a:r>
            <a:endParaRPr kumimoji="1" lang="ko-KR" altLang="en-US" sz="1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76878" y="2198018"/>
            <a:ext cx="11988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관심 업종 선택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" name="꺾인 연결선 25"/>
          <p:cNvCxnSpPr>
            <a:stCxn id="12" idx="1"/>
            <a:endCxn id="8" idx="3"/>
          </p:cNvCxnSpPr>
          <p:nvPr/>
        </p:nvCxnSpPr>
        <p:spPr>
          <a:xfrm rot="10800000">
            <a:off x="1575709" y="2321129"/>
            <a:ext cx="1183821" cy="720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모서리가 둥근 직사각형 11"/>
          <p:cNvSpPr/>
          <p:nvPr/>
        </p:nvSpPr>
        <p:spPr>
          <a:xfrm>
            <a:off x="2759529" y="1810690"/>
            <a:ext cx="1208314" cy="1022317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3" name="모서리가 둥근 직사각형 12"/>
          <p:cNvSpPr/>
          <p:nvPr/>
        </p:nvSpPr>
        <p:spPr>
          <a:xfrm>
            <a:off x="2759529" y="2937361"/>
            <a:ext cx="1208314" cy="562257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2759529" y="3606832"/>
            <a:ext cx="1208314" cy="752897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5" name="꺾인 연결선 25"/>
          <p:cNvCxnSpPr>
            <a:stCxn id="13" idx="1"/>
            <a:endCxn id="18" idx="3"/>
          </p:cNvCxnSpPr>
          <p:nvPr/>
        </p:nvCxnSpPr>
        <p:spPr>
          <a:xfrm rot="10800000">
            <a:off x="1575709" y="3214762"/>
            <a:ext cx="1183821" cy="3729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꺾인 연결선 25"/>
          <p:cNvCxnSpPr>
            <a:stCxn id="14" idx="1"/>
            <a:endCxn id="19" idx="3"/>
          </p:cNvCxnSpPr>
          <p:nvPr/>
        </p:nvCxnSpPr>
        <p:spPr>
          <a:xfrm rot="10800000">
            <a:off x="1575709" y="3980037"/>
            <a:ext cx="1183821" cy="3245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76878" y="3091650"/>
            <a:ext cx="11988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분석할 종목 선택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76878" y="3856925"/>
            <a:ext cx="11988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STM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속성 선택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4065815" y="1802527"/>
            <a:ext cx="4687440" cy="246710"/>
          </a:xfrm>
          <a:prstGeom prst="roundRect">
            <a:avLst>
              <a:gd name="adj" fmla="val 14881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5" name="모서리가 둥근 직사각형 34"/>
          <p:cNvSpPr/>
          <p:nvPr/>
        </p:nvSpPr>
        <p:spPr>
          <a:xfrm>
            <a:off x="4065815" y="2153588"/>
            <a:ext cx="4687440" cy="2483725"/>
          </a:xfrm>
          <a:prstGeom prst="roundRect">
            <a:avLst>
              <a:gd name="adj" fmla="val 2674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TextBox 35"/>
          <p:cNvSpPr txBox="1"/>
          <p:nvPr/>
        </p:nvSpPr>
        <p:spPr>
          <a:xfrm>
            <a:off x="6828934" y="923295"/>
            <a:ext cx="19744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예측값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실제값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MSE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표시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7" name="꺾인 연결선 25"/>
          <p:cNvCxnSpPr>
            <a:stCxn id="34" idx="0"/>
            <a:endCxn id="36" idx="1"/>
          </p:cNvCxnSpPr>
          <p:nvPr/>
        </p:nvCxnSpPr>
        <p:spPr>
          <a:xfrm rot="5400000" flipH="1" flipV="1">
            <a:off x="6241174" y="1214768"/>
            <a:ext cx="756121" cy="419399"/>
          </a:xfrm>
          <a:prstGeom prst="bentConnector2">
            <a:avLst/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828934" y="4765387"/>
            <a:ext cx="10722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ndle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차트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1" name="꺾인 연결선 25"/>
          <p:cNvCxnSpPr>
            <a:stCxn id="35" idx="2"/>
            <a:endCxn id="40" idx="1"/>
          </p:cNvCxnSpPr>
          <p:nvPr/>
        </p:nvCxnSpPr>
        <p:spPr>
          <a:xfrm rot="16200000" flipH="1">
            <a:off x="6493642" y="4553205"/>
            <a:ext cx="251185" cy="419399"/>
          </a:xfrm>
          <a:prstGeom prst="bentConnector2">
            <a:avLst/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23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2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UI</a:t>
            </a:r>
            <a:r>
              <a:rPr lang="ko-KR" altLang="en-US" dirty="0" smtClean="0"/>
              <a:t> 화면 개발</a:t>
            </a:r>
            <a:endParaRPr kumimoji="1" lang="ko-KR" alt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76878" y="2633284"/>
            <a:ext cx="1657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유사한 흐름을 보이는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공지능 모델을 선별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4731" y="2200761"/>
            <a:ext cx="16657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보고 싶은 구간을 선별 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6877" y="1814267"/>
            <a:ext cx="16735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분석할 종목을 선택 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b="5740"/>
          <a:stretch/>
        </p:blipFill>
        <p:spPr>
          <a:xfrm>
            <a:off x="2683354" y="1272043"/>
            <a:ext cx="6085303" cy="322647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4" name="모서리가 둥근 직사각형 23"/>
          <p:cNvSpPr/>
          <p:nvPr/>
        </p:nvSpPr>
        <p:spPr>
          <a:xfrm>
            <a:off x="429519" y="126212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최종 </a:t>
            </a:r>
            <a:r>
              <a:rPr kumimoji="1" lang="en-US" altLang="ko-KR" sz="1200" b="1" dirty="0" smtClean="0"/>
              <a:t>UI</a:t>
            </a:r>
            <a:r>
              <a:rPr kumimoji="1" lang="ko-KR" altLang="en-US" sz="1200" b="1" dirty="0" smtClean="0"/>
              <a:t> 화면</a:t>
            </a:r>
            <a:endParaRPr kumimoji="1" lang="ko-KR" altLang="en-US" sz="1200" b="1" dirty="0"/>
          </a:p>
        </p:txBody>
      </p:sp>
      <p:sp>
        <p:nvSpPr>
          <p:cNvPr id="25" name="텍스트 개체 틀 1"/>
          <p:cNvSpPr txBox="1">
            <a:spLocks/>
          </p:cNvSpPr>
          <p:nvPr/>
        </p:nvSpPr>
        <p:spPr>
          <a:xfrm>
            <a:off x="407502" y="861739"/>
            <a:ext cx="8394737" cy="18466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de JS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와  </a:t>
            </a:r>
            <a:r>
              <a:rPr lang="en-US" altLang="ko-KR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otly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활용하여 주식 분석을 위한 최적화 기능을 구현하였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(Web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962308" y="2485617"/>
            <a:ext cx="14450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예측구간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최근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5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일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62307" y="3231397"/>
            <a:ext cx="14450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구간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확대 축소 시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상위 차트 연동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꺾인 연결선 25"/>
          <p:cNvCxnSpPr>
            <a:stCxn id="8" idx="1"/>
            <a:endCxn id="26" idx="3"/>
          </p:cNvCxnSpPr>
          <p:nvPr/>
        </p:nvCxnSpPr>
        <p:spPr>
          <a:xfrm rot="10800000">
            <a:off x="7407399" y="2608729"/>
            <a:ext cx="316440" cy="1295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모서리가 둥근 직사각형 7"/>
          <p:cNvSpPr/>
          <p:nvPr/>
        </p:nvSpPr>
        <p:spPr>
          <a:xfrm>
            <a:off x="7723839" y="1901248"/>
            <a:ext cx="971342" cy="1417550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모서리가 둥근 직사각형 29"/>
          <p:cNvSpPr/>
          <p:nvPr/>
        </p:nvSpPr>
        <p:spPr>
          <a:xfrm>
            <a:off x="7723839" y="3544436"/>
            <a:ext cx="971342" cy="611185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31" name="꺾인 연결선 25"/>
          <p:cNvCxnSpPr>
            <a:stCxn id="30" idx="0"/>
            <a:endCxn id="27" idx="3"/>
          </p:cNvCxnSpPr>
          <p:nvPr/>
        </p:nvCxnSpPr>
        <p:spPr>
          <a:xfrm rot="16200000" flipV="1">
            <a:off x="7751962" y="3086888"/>
            <a:ext cx="112984" cy="802112"/>
          </a:xfrm>
          <a:prstGeom prst="bentConnector2">
            <a:avLst/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25"/>
          <p:cNvCxnSpPr>
            <a:stCxn id="55" idx="1"/>
            <a:endCxn id="18" idx="3"/>
          </p:cNvCxnSpPr>
          <p:nvPr/>
        </p:nvCxnSpPr>
        <p:spPr>
          <a:xfrm rot="10800000" flipV="1">
            <a:off x="2050477" y="1698548"/>
            <a:ext cx="791625" cy="238830"/>
          </a:xfrm>
          <a:prstGeom prst="bentConnector3">
            <a:avLst>
              <a:gd name="adj1" fmla="val 64439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모서리가 둥근 직사각형 54"/>
          <p:cNvSpPr/>
          <p:nvPr/>
        </p:nvSpPr>
        <p:spPr>
          <a:xfrm>
            <a:off x="2842101" y="1591703"/>
            <a:ext cx="815498" cy="213689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57" name="꺾인 연결선 25"/>
          <p:cNvCxnSpPr>
            <a:stCxn id="63" idx="1"/>
            <a:endCxn id="16" idx="3"/>
          </p:cNvCxnSpPr>
          <p:nvPr/>
        </p:nvCxnSpPr>
        <p:spPr>
          <a:xfrm rot="10800000" flipV="1">
            <a:off x="2050479" y="1888962"/>
            <a:ext cx="791622" cy="434910"/>
          </a:xfrm>
          <a:prstGeom prst="bentConnector3">
            <a:avLst>
              <a:gd name="adj1" fmla="val 51031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모서리가 둥근 직사각형 62"/>
          <p:cNvSpPr/>
          <p:nvPr/>
        </p:nvSpPr>
        <p:spPr>
          <a:xfrm>
            <a:off x="2842101" y="1828467"/>
            <a:ext cx="815498" cy="120990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모서리가 둥근 직사각형 63"/>
          <p:cNvSpPr/>
          <p:nvPr/>
        </p:nvSpPr>
        <p:spPr>
          <a:xfrm>
            <a:off x="2842101" y="1975424"/>
            <a:ext cx="3746478" cy="121698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68" name="꺾인 연결선 25"/>
          <p:cNvCxnSpPr>
            <a:stCxn id="64" idx="1"/>
            <a:endCxn id="14" idx="3"/>
          </p:cNvCxnSpPr>
          <p:nvPr/>
        </p:nvCxnSpPr>
        <p:spPr>
          <a:xfrm rot="10800000" flipV="1">
            <a:off x="2034153" y="2036273"/>
            <a:ext cx="807949" cy="797066"/>
          </a:xfrm>
          <a:prstGeom prst="bentConnector3">
            <a:avLst>
              <a:gd name="adj1" fmla="val 34843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376878" y="3055345"/>
            <a:ext cx="165727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선택</a:t>
            </a: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옵션</a:t>
            </a:r>
            <a:endParaRPr lang="en-US" altLang="ko-KR" sz="1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 Feature 1 window</a:t>
            </a: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 Feature 5 window</a:t>
            </a: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 Feature 10 window</a:t>
            </a:r>
            <a:endParaRPr lang="en-US" altLang="ko-KR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 Feature 1 window</a:t>
            </a: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 Feature 5 window</a:t>
            </a: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 Feature 10window</a:t>
            </a:r>
            <a:endParaRPr lang="ko-KR" alt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01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00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190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200" spc="-51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Background &amp; Summary</a:t>
            </a:r>
            <a:endParaRPr lang="ko-KR" altLang="en-US" dirty="0"/>
          </a:p>
        </p:txBody>
      </p:sp>
      <p:sp>
        <p:nvSpPr>
          <p:cNvPr id="4" name="타원 3"/>
          <p:cNvSpPr/>
          <p:nvPr/>
        </p:nvSpPr>
        <p:spPr>
          <a:xfrm>
            <a:off x="832207" y="1345915"/>
            <a:ext cx="2095928" cy="209592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ko-KR" altLang="en-US" sz="2000" b="1" dirty="0" smtClean="0"/>
              <a:t>금융업 기술</a:t>
            </a:r>
            <a:endParaRPr kumimoji="1" lang="en-US" altLang="ko-KR" sz="2000" b="1" dirty="0" smtClean="0"/>
          </a:p>
          <a:p>
            <a:pPr algn="ctr"/>
            <a:r>
              <a:rPr kumimoji="1" lang="ko-KR" altLang="en-US" sz="2000" b="1" dirty="0" smtClean="0"/>
              <a:t>현황 이해</a:t>
            </a:r>
            <a:endParaRPr kumimoji="1" lang="ko-KR" altLang="en-US" sz="2000" b="1" dirty="0"/>
          </a:p>
        </p:txBody>
      </p:sp>
      <p:sp>
        <p:nvSpPr>
          <p:cNvPr id="8" name="타원 7"/>
          <p:cNvSpPr/>
          <p:nvPr/>
        </p:nvSpPr>
        <p:spPr>
          <a:xfrm>
            <a:off x="3544584" y="1345915"/>
            <a:ext cx="2095928" cy="209592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ko-KR" altLang="en-US" sz="2000" b="1" dirty="0" smtClean="0"/>
              <a:t>딥러닝</a:t>
            </a:r>
            <a:endParaRPr kumimoji="1" lang="en-US" altLang="ko-KR" sz="2000" b="1" dirty="0" smtClean="0"/>
          </a:p>
          <a:p>
            <a:pPr algn="ctr"/>
            <a:r>
              <a:rPr kumimoji="1" lang="ko-KR" altLang="en-US" sz="2000" b="1" dirty="0" smtClean="0"/>
              <a:t>기술의 활용</a:t>
            </a:r>
            <a:endParaRPr kumimoji="1" lang="ko-KR" altLang="en-US" sz="2000" b="1" dirty="0"/>
          </a:p>
        </p:txBody>
      </p:sp>
      <p:sp>
        <p:nvSpPr>
          <p:cNvPr id="9" name="타원 8"/>
          <p:cNvSpPr/>
          <p:nvPr/>
        </p:nvSpPr>
        <p:spPr>
          <a:xfrm>
            <a:off x="6256962" y="1345915"/>
            <a:ext cx="2095928" cy="209592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ko-KR" altLang="en-US" sz="2000" b="1" dirty="0" smtClean="0"/>
              <a:t>모든 팀원의</a:t>
            </a:r>
            <a:endParaRPr kumimoji="1" lang="en-US" altLang="ko-KR" sz="2000" b="1" dirty="0" smtClean="0"/>
          </a:p>
          <a:p>
            <a:pPr algn="ctr"/>
            <a:r>
              <a:rPr kumimoji="1" lang="ko-KR" altLang="en-US" sz="2000" b="1" dirty="0" smtClean="0"/>
              <a:t>참여와 경험</a:t>
            </a:r>
            <a:endParaRPr kumimoji="1" lang="ko-KR" altLang="en-US" sz="20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915549" y="3665484"/>
            <a:ext cx="19292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현업의 머신러닝 적용 사례를 이해하고 시사점을 발견한다</a:t>
            </a:r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kumimoji="1" lang="ko-KR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98523" y="3665484"/>
            <a:ext cx="19880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STM</a:t>
            </a:r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을 이용해 예측 종가와 실제 종가와의 오차를 최소화 하는</a:t>
            </a:r>
            <a:endParaRPr kumimoji="1"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모델을 만든다</a:t>
            </a:r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34981" y="3665484"/>
            <a:ext cx="23398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빅데이터 플랫폼을 구축하는 전체 과정을 팀원들이 직간접적으로 경험한다</a:t>
            </a:r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1717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4</a:t>
            </a:fld>
            <a:endParaRPr kumimoji="1"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294967295"/>
          </p:nvPr>
        </p:nvSpPr>
        <p:spPr>
          <a:xfrm>
            <a:off x="263047" y="4767263"/>
            <a:ext cx="3086100" cy="273844"/>
          </a:xfrm>
          <a:prstGeom prst="rect">
            <a:avLst/>
          </a:prstGeom>
        </p:spPr>
        <p:txBody>
          <a:bodyPr/>
          <a:lstStyle/>
          <a:p>
            <a:r>
              <a:rPr kumimoji="1" lang="en-US" altLang="ko-KR" dirty="0" smtClean="0"/>
              <a:t>Team Tensor</a:t>
            </a:r>
            <a:r>
              <a:rPr kumimoji="1" lang="de-DE" altLang="ko-KR" dirty="0" smtClean="0"/>
              <a:t>.</a:t>
            </a:r>
            <a:r>
              <a:rPr kumimoji="1" lang="ko-KR" altLang="en-US" dirty="0" smtClean="0"/>
              <a:t> </a:t>
            </a:r>
            <a:r>
              <a:rPr kumimoji="1" lang="en-US" altLang="ko-KR" dirty="0" smtClean="0"/>
              <a:t>Copyright </a:t>
            </a:r>
            <a:r>
              <a:rPr kumimoji="1" lang="de-DE" altLang="ko-KR" dirty="0" smtClean="0"/>
              <a:t>© </a:t>
            </a:r>
            <a:r>
              <a:rPr kumimoji="1" lang="en-US" altLang="ko-KR" dirty="0" smtClean="0"/>
              <a:t>All rights reserved.</a:t>
            </a:r>
            <a:endParaRPr kumimoji="1" lang="ko-KR" altLang="en-US" dirty="0"/>
          </a:p>
        </p:txBody>
      </p:sp>
      <p:sp>
        <p:nvSpPr>
          <p:cNvPr id="6" name="제목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1</a:t>
            </a:r>
            <a:endParaRPr kumimoji="1"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ko-KR" altLang="en-US" dirty="0" smtClean="0"/>
              <a:t>금융권 </a:t>
            </a:r>
            <a:endParaRPr kumimoji="1" lang="en-US" altLang="ko-KR" dirty="0" smtClean="0"/>
          </a:p>
          <a:p>
            <a:r>
              <a:rPr kumimoji="1" lang="ko-KR" altLang="en-US" dirty="0" smtClean="0"/>
              <a:t>기술도입 </a:t>
            </a:r>
            <a:endParaRPr kumimoji="1" lang="en-US" altLang="ko-KR" dirty="0" smtClean="0"/>
          </a:p>
          <a:p>
            <a:r>
              <a:rPr kumimoji="1" lang="ko-KR" altLang="en-US" dirty="0" smtClean="0"/>
              <a:t>현황</a:t>
            </a:r>
            <a:endParaRPr kumimoji="1" lang="ko-KR" altLang="en-US" dirty="0"/>
          </a:p>
        </p:txBody>
      </p:sp>
      <p:sp>
        <p:nvSpPr>
          <p:cNvPr id="8" name="내용 개체 틀 7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kumimoji="1" lang="ko-KR" altLang="en-US" dirty="0" smtClean="0"/>
              <a:t>금융권의 자산운용 서비스에 대한 머신러닝 도입 현황</a:t>
            </a:r>
            <a:endParaRPr kumimoji="1" lang="en-US" altLang="ko-KR" dirty="0" smtClean="0"/>
          </a:p>
          <a:p>
            <a:endParaRPr kumimoji="1" lang="en-US" altLang="ko-KR" dirty="0"/>
          </a:p>
          <a:p>
            <a:r>
              <a:rPr kumimoji="1" lang="ko-KR" altLang="en-US" dirty="0" smtClean="0"/>
              <a:t>신한금융그룹 </a:t>
            </a:r>
            <a:r>
              <a:rPr kumimoji="1" lang="mr-IN" altLang="ko-KR" dirty="0"/>
              <a:t>–</a:t>
            </a:r>
            <a:r>
              <a:rPr kumimoji="1" lang="ko-KR" altLang="en-US" dirty="0"/>
              <a:t> 인공지능을 활용한 자본시장 경쟁력 강화 </a:t>
            </a:r>
            <a:r>
              <a:rPr kumimoji="1" lang="ko-KR" altLang="en-US" dirty="0" smtClean="0"/>
              <a:t>프로젝트</a:t>
            </a:r>
            <a:endParaRPr kumimoji="1" lang="en-US" altLang="ko-KR" dirty="0" smtClean="0"/>
          </a:p>
          <a:p>
            <a:endParaRPr kumimoji="1" lang="en-US" altLang="ko-KR" dirty="0" smtClean="0"/>
          </a:p>
          <a:p>
            <a:r>
              <a:rPr kumimoji="1" lang="ko-KR" altLang="en-US" dirty="0"/>
              <a:t>주식 투자를 위한 기술적 분석 </a:t>
            </a:r>
            <a:r>
              <a:rPr kumimoji="1" lang="ko-KR" altLang="en-US" dirty="0" smtClean="0"/>
              <a:t>방법론</a:t>
            </a:r>
            <a:endParaRPr kumimoji="1"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201659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5</a:t>
            </a:fld>
            <a:endParaRPr kumimoji="1" lang="ko-KR" altLang="en-US"/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ko-KR" altLang="en-US" dirty="0"/>
              <a:t>금융권의 자산운용서비스에 대한 머신러닝 도입 현황</a:t>
            </a:r>
          </a:p>
        </p:txBody>
      </p:sp>
      <p:pic>
        <p:nvPicPr>
          <p:cNvPr id="4" name="Picture 67" descr="mage result for ì°ë¦¬ìí ë¡ê³  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151" y="1302400"/>
            <a:ext cx="1405277" cy="43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9" descr="mage result for ì¼ì±ì¦ê¶ ë¡ê³  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813" y="1281853"/>
            <a:ext cx="1252851" cy="46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71" descr="mage result for kbê¸ìµ ë¡ê³  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08" r="982" b="11057"/>
          <a:stretch/>
        </p:blipFill>
        <p:spPr bwMode="auto">
          <a:xfrm>
            <a:off x="3745140" y="1163671"/>
            <a:ext cx="1713692" cy="663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3" descr="mage result for ê¸°ììí ë¡ê³  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14" b="20408"/>
          <a:stretch/>
        </p:blipFill>
        <p:spPr bwMode="auto">
          <a:xfrm>
            <a:off x="5477693" y="1184219"/>
            <a:ext cx="1699424" cy="582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5" descr="mage result for NHí¬ìì¦ê¶ ë¡ê³  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077" y="1194493"/>
            <a:ext cx="1402828" cy="663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10507" y="2124360"/>
            <a:ext cx="16555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고객 정보와 성향을 분석하여 자산배분을 수행하는 로보어드바이저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우리 로보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알파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출시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영업점에 위치한 실물 로봇으로 서비스가 제공되며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로봇은 고객과의 음성 대화를 통해 투자성향 분석 등의 서비스 제공</a:t>
            </a:r>
            <a:endParaRPr kumimoji="1" lang="ko-KR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77423" y="2124360"/>
            <a:ext cx="16555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지난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간 주식시장 전 종목의 호가와 종가 기록을 이용하여 투자 포트폴리오 구성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약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월간 가상거래환경에서 테스트를 진행하여 투자 안정성 검증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03243" y="2124360"/>
            <a:ext cx="16555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 KB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산운용이 개발한 로보어드바이저 알고리즘인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KB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로보라이더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제공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kumimoji="1"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자산관리 뿐만 아니라 자산배분 재구성 및 사후관리 서비스까지 제공 예정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39337" y="2124360"/>
            <a:ext cx="165558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은행이 고객의 개인종합자산관리계좌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ISA)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 돈을 운용하는 일임형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A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로보어드바이저를 도입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자산운용 전문인력과 로보어드바이저가 함께 자산배분 업무를 협업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265156" y="2124360"/>
            <a:ext cx="16555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사람의 개입 없이 투자하고 자산을 재구성하는 로보어드바이저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QV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글로벌 로보앱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출시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4" name="직선 연결선[R] 13"/>
          <p:cNvCxnSpPr/>
          <p:nvPr/>
        </p:nvCxnSpPr>
        <p:spPr>
          <a:xfrm>
            <a:off x="404425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[R] 14"/>
          <p:cNvCxnSpPr/>
          <p:nvPr/>
        </p:nvCxnSpPr>
        <p:spPr>
          <a:xfrm>
            <a:off x="2138677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[R] 15"/>
          <p:cNvCxnSpPr/>
          <p:nvPr/>
        </p:nvCxnSpPr>
        <p:spPr>
          <a:xfrm>
            <a:off x="3872929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[R] 16"/>
          <p:cNvCxnSpPr/>
          <p:nvPr/>
        </p:nvCxnSpPr>
        <p:spPr>
          <a:xfrm>
            <a:off x="5607181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[R] 17"/>
          <p:cNvCxnSpPr/>
          <p:nvPr/>
        </p:nvCxnSpPr>
        <p:spPr>
          <a:xfrm>
            <a:off x="7341433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597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6</a:t>
            </a:fld>
            <a:endParaRPr kumimoji="1" lang="ko-KR" altLang="en-US"/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ko-KR" altLang="en-US" dirty="0"/>
              <a:t>신한금융그룹 </a:t>
            </a:r>
            <a:r>
              <a:rPr kumimoji="1" lang="mr-IN" altLang="ko-KR" dirty="0"/>
              <a:t>–</a:t>
            </a:r>
            <a:r>
              <a:rPr kumimoji="1" lang="ko-KR" altLang="en-US" dirty="0"/>
              <a:t> 인공지능을 활용한 자본시장 경쟁력 강화 프로젝트</a:t>
            </a:r>
          </a:p>
        </p:txBody>
      </p:sp>
      <p:sp>
        <p:nvSpPr>
          <p:cNvPr id="4" name="모서리가 둥근 직사각형 3"/>
          <p:cNvSpPr/>
          <p:nvPr/>
        </p:nvSpPr>
        <p:spPr>
          <a:xfrm>
            <a:off x="454345" y="3380198"/>
            <a:ext cx="8278689" cy="1356189"/>
          </a:xfrm>
          <a:prstGeom prst="roundRect">
            <a:avLst>
              <a:gd name="adj" fmla="val 114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548261" y="1878956"/>
            <a:ext cx="58950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글로벌 자본 시장에 대한 분석 알고리즘 개발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본시장 상품에 대한 평가 알고리즘 개발 및 고도화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공지능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지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딥러닝 등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핵심기술 사용 및 내재화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공지능왓슨 브랜드의 전략적 활용안 도출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정형</a:t>
            </a:r>
            <a:r>
              <a:rPr kumimoji="1" lang="de-DE" altLang="ko-K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·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비정형 빅데이터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B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구축</a:t>
            </a:r>
            <a:endParaRPr kumimoji="1" lang="ko-KR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7360" y="3511852"/>
            <a:ext cx="801156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BM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 인공지능 플랫폼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왓슨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을 도입하여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0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억원 규모의 프로젝트 진행 중</a:t>
            </a: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각 계열사에서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F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멤버를 차출하여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6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 파일럿 프로젝트 추진</a:t>
            </a: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7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보물섬 프로젝트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진행</a:t>
            </a: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8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 연말 프로젝트 발표 예정</a:t>
            </a:r>
            <a:endParaRPr kumimoji="1" lang="ko-KR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71" descr="mage result for ì íê¸ìµê·¸ë£¹ ë¡ê³ 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39" b="21101"/>
          <a:stretch/>
        </p:blipFill>
        <p:spPr bwMode="auto">
          <a:xfrm>
            <a:off x="232225" y="858874"/>
            <a:ext cx="3128481" cy="805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[R] 7"/>
          <p:cNvCxnSpPr/>
          <p:nvPr/>
        </p:nvCxnSpPr>
        <p:spPr>
          <a:xfrm>
            <a:off x="404425" y="1695237"/>
            <a:ext cx="8328609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88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7</a:t>
            </a:fld>
            <a:endParaRPr kumimoji="1" lang="ko-KR" altLang="en-US"/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ko-KR" altLang="en-US" dirty="0"/>
              <a:t>주식 투자를 위한 기술적 분석 방법론</a:t>
            </a:r>
          </a:p>
        </p:txBody>
      </p:sp>
      <p:sp>
        <p:nvSpPr>
          <p:cNvPr id="4" name="모서리가 둥근 직사각형 3"/>
          <p:cNvSpPr/>
          <p:nvPr/>
        </p:nvSpPr>
        <p:spPr>
          <a:xfrm>
            <a:off x="421240" y="1027415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smtClean="0"/>
              <a:t>Bollinger Band</a:t>
            </a:r>
            <a:endParaRPr kumimoji="1" lang="ko-KR" altLang="en-US" b="1" dirty="0"/>
          </a:p>
        </p:txBody>
      </p:sp>
      <p:sp>
        <p:nvSpPr>
          <p:cNvPr id="5" name="모서리가 둥근 직사각형 4"/>
          <p:cNvSpPr/>
          <p:nvPr/>
        </p:nvSpPr>
        <p:spPr>
          <a:xfrm>
            <a:off x="3308278" y="1027415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RSI</a:t>
            </a:r>
            <a:endParaRPr kumimoji="1" lang="ko-KR" altLang="en-US" b="1" dirty="0"/>
          </a:p>
        </p:txBody>
      </p:sp>
      <p:sp>
        <p:nvSpPr>
          <p:cNvPr id="6" name="모서리가 둥근 직사각형 5"/>
          <p:cNvSpPr/>
          <p:nvPr/>
        </p:nvSpPr>
        <p:spPr>
          <a:xfrm>
            <a:off x="6195317" y="1027415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MACD</a:t>
            </a:r>
            <a:endParaRPr kumimoji="1" lang="ko-KR" altLang="en-US" b="1" dirty="0"/>
          </a:p>
        </p:txBody>
      </p:sp>
      <p:sp>
        <p:nvSpPr>
          <p:cNvPr id="7" name="모서리가 둥근 직사각형 6"/>
          <p:cNvSpPr/>
          <p:nvPr/>
        </p:nvSpPr>
        <p:spPr>
          <a:xfrm>
            <a:off x="421240" y="2815119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Stochastics</a:t>
            </a:r>
            <a:endParaRPr kumimoji="1" lang="ko-KR" altLang="en-US" b="1" dirty="0"/>
          </a:p>
        </p:txBody>
      </p:sp>
      <p:sp>
        <p:nvSpPr>
          <p:cNvPr id="8" name="모서리가 둥근 직사각형 7"/>
          <p:cNvSpPr/>
          <p:nvPr/>
        </p:nvSpPr>
        <p:spPr>
          <a:xfrm>
            <a:off x="3308278" y="2815119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OBV</a:t>
            </a:r>
            <a:endParaRPr kumimoji="1" lang="ko-KR" altLang="en-US" b="1" dirty="0"/>
          </a:p>
        </p:txBody>
      </p:sp>
      <p:sp>
        <p:nvSpPr>
          <p:cNvPr id="9" name="모서리가 둥근 직사각형 8"/>
          <p:cNvSpPr/>
          <p:nvPr/>
        </p:nvSpPr>
        <p:spPr>
          <a:xfrm>
            <a:off x="6195317" y="2815119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b="1" dirty="0" smtClean="0"/>
              <a:t>일목균형표</a:t>
            </a:r>
            <a:endParaRPr kumimoji="1" lang="ko-KR" alt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21241" y="1499826"/>
            <a:ext cx="255826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존 볼린저가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980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대에 개발한 기술적 분석도구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일 이동평균선을 기준으로 주가가 어느 정도의 위치에 있는지를 측정하기 위한 도구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kumimoji="1" lang="ko-KR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72080" y="1499826"/>
            <a:ext cx="27383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SI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는 일정 기간 동안 주가가 전일 가격에 비해 상승한 변화량과 하락한 변화량의 평균값을 구하여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상승한 변화량이 크면 과매수로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하락한 변화량이 크면 과매도로 판단하는 방식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22920" y="1499826"/>
            <a:ext cx="26306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CD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는 장단기 이동평균선 간의 차이를 이용하여 매매신호를 포착하려는 기법으로 제럴드 아펠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Gerald Appel)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의해 개발되었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1241" y="3379997"/>
            <a:ext cx="25582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현 주가수준이 일정 기간 동안 변동했던 범위 내에서 상대적으로 어느 수준에 위치해 있는가를 가지고 판단하는 지표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ko-KR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72080" y="3379997"/>
            <a:ext cx="273830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거래량은 항상 주가에 선행한다는 것을 전제로 거래량 분석을 통해 분석하는 기법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BV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지표를 이용하는 목적은 전체시장이 매집 단계에 있는지 아니면 분산단게에 있는지를 광범위하게 나타내므로 앞으로의 주가의 변화방향을 예측하는 데 있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22920" y="3379997"/>
            <a:ext cx="26306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일목균형표란 일본에서 개발된 지표로 주가의 움직임을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의 의미있는 선을 이용하여 주가를 예측하는 기법으로 시간 개념이 포함된 지표를 말한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7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8</a:t>
            </a:fld>
            <a:endParaRPr kumimoji="1"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4294967295"/>
          </p:nvPr>
        </p:nvSpPr>
        <p:spPr>
          <a:xfrm>
            <a:off x="263047" y="4767263"/>
            <a:ext cx="3086100" cy="273844"/>
          </a:xfrm>
          <a:prstGeom prst="rect">
            <a:avLst/>
          </a:prstGeom>
        </p:spPr>
        <p:txBody>
          <a:bodyPr/>
          <a:lstStyle/>
          <a:p>
            <a:r>
              <a:rPr kumimoji="1" lang="en-US" altLang="ko-KR" dirty="0" smtClean="0"/>
              <a:t>Team Tensor</a:t>
            </a:r>
            <a:r>
              <a:rPr kumimoji="1" lang="de-DE" altLang="ko-KR" dirty="0" smtClean="0"/>
              <a:t>.</a:t>
            </a:r>
            <a:r>
              <a:rPr kumimoji="1" lang="ko-KR" altLang="en-US" dirty="0" smtClean="0"/>
              <a:t> </a:t>
            </a:r>
            <a:r>
              <a:rPr kumimoji="1" lang="en-US" altLang="ko-KR" dirty="0" smtClean="0"/>
              <a:t>Copyright </a:t>
            </a:r>
            <a:r>
              <a:rPr kumimoji="1" lang="de-DE" altLang="ko-KR" dirty="0" smtClean="0"/>
              <a:t>© </a:t>
            </a:r>
            <a:r>
              <a:rPr kumimoji="1" lang="en-US" altLang="ko-KR" dirty="0" smtClean="0"/>
              <a:t>All rights reserved.</a:t>
            </a:r>
            <a:endParaRPr kumimoji="1" lang="ko-KR" altLang="en-US" dirty="0"/>
          </a:p>
        </p:txBody>
      </p:sp>
      <p:sp>
        <p:nvSpPr>
          <p:cNvPr id="6" name="제목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2</a:t>
            </a:r>
            <a:endParaRPr kumimoji="1"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en-US" altLang="ko-KR" dirty="0" smtClean="0"/>
              <a:t>LSTM</a:t>
            </a:r>
            <a:r>
              <a:rPr kumimoji="1" lang="ko-KR" altLang="en-US" dirty="0" smtClean="0"/>
              <a:t>을 이용한</a:t>
            </a:r>
            <a:endParaRPr kumimoji="1" lang="en-US" altLang="ko-KR" dirty="0" smtClean="0"/>
          </a:p>
          <a:p>
            <a:r>
              <a:rPr kumimoji="1" lang="ko-KR" altLang="en-US" dirty="0" smtClean="0"/>
              <a:t>주가분석 과정</a:t>
            </a:r>
            <a:endParaRPr kumimoji="1" lang="ko-KR" altLang="en-US" dirty="0"/>
          </a:p>
        </p:txBody>
      </p:sp>
      <p:sp>
        <p:nvSpPr>
          <p:cNvPr id="8" name="내용 개체 틀 7"/>
          <p:cNvSpPr>
            <a:spLocks noGrp="1"/>
          </p:cNvSpPr>
          <p:nvPr>
            <p:ph sz="half" idx="13"/>
          </p:nvPr>
        </p:nvSpPr>
        <p:spPr/>
        <p:txBody>
          <a:bodyPr>
            <a:noAutofit/>
          </a:bodyPr>
          <a:lstStyle/>
          <a:p>
            <a:r>
              <a:rPr lang="ko-KR" altLang="en-US" sz="1600" dirty="0"/>
              <a:t>데이터 분석 </a:t>
            </a:r>
            <a:r>
              <a:rPr lang="en-US" altLang="ko-KR" sz="1600" dirty="0"/>
              <a:t>(1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LSTM</a:t>
            </a:r>
            <a:r>
              <a:rPr lang="ko-KR" altLang="en-US" sz="1600" dirty="0"/>
              <a:t> 신경망 분석 시스템 </a:t>
            </a:r>
            <a:r>
              <a:rPr lang="ko-KR" altLang="en-US" sz="1600" dirty="0" smtClean="0"/>
              <a:t>개발</a:t>
            </a:r>
            <a:endParaRPr lang="en-US" altLang="ko-KR" sz="1600" dirty="0" smtClean="0"/>
          </a:p>
          <a:p>
            <a:r>
              <a:rPr lang="ko-KR" altLang="en-US" sz="1600" dirty="0"/>
              <a:t>데이터 분석 </a:t>
            </a:r>
            <a:r>
              <a:rPr lang="en-US" altLang="ko-KR" sz="1600" dirty="0"/>
              <a:t>(2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3</a:t>
            </a:r>
            <a:r>
              <a:rPr lang="ko-KR" altLang="en-US" sz="1600" dirty="0"/>
              <a:t>차원 데이터 </a:t>
            </a:r>
            <a:r>
              <a:rPr lang="ko-KR" altLang="en-US" sz="1600" dirty="0" smtClean="0"/>
              <a:t>준비</a:t>
            </a:r>
            <a:endParaRPr lang="en-US" altLang="ko-KR" sz="1600" dirty="0" smtClean="0"/>
          </a:p>
          <a:p>
            <a:r>
              <a:rPr lang="ko-KR" altLang="en-US" sz="1600" dirty="0"/>
              <a:t>데이터 분석 </a:t>
            </a:r>
            <a:r>
              <a:rPr lang="en-US" altLang="ko-KR" sz="1600" dirty="0"/>
              <a:t>(3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종가 예측 시스템 </a:t>
            </a:r>
            <a:r>
              <a:rPr lang="ko-KR" altLang="en-US" sz="1600" dirty="0" smtClean="0"/>
              <a:t>구축</a:t>
            </a:r>
            <a:endParaRPr lang="en-US" altLang="ko-KR" sz="1600" dirty="0" smtClean="0"/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1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적정 </a:t>
            </a:r>
            <a:r>
              <a:rPr lang="en-US" altLang="ko-KR" sz="1600" dirty="0"/>
              <a:t>Epoch </a:t>
            </a:r>
            <a:r>
              <a:rPr lang="ko-KR" altLang="en-US" sz="1600" dirty="0" smtClean="0"/>
              <a:t>확인</a:t>
            </a:r>
            <a:endParaRPr lang="en-US" altLang="ko-KR" sz="1600" dirty="0" smtClean="0"/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2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적정 </a:t>
            </a:r>
            <a:r>
              <a:rPr lang="en-US" altLang="ko-KR" sz="1600" dirty="0"/>
              <a:t>Window </a:t>
            </a:r>
            <a:r>
              <a:rPr lang="ko-KR" altLang="en-US" sz="1600" dirty="0" smtClean="0"/>
              <a:t>확인</a:t>
            </a:r>
            <a:endParaRPr lang="en-US" altLang="ko-KR" sz="1600" dirty="0" smtClean="0"/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3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Best </a:t>
            </a:r>
            <a:r>
              <a:rPr lang="en-US" altLang="ko-KR" sz="1600" dirty="0" smtClean="0"/>
              <a:t>Case</a:t>
            </a:r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4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Worst </a:t>
            </a:r>
            <a:r>
              <a:rPr lang="en-US" altLang="ko-KR" sz="1600" dirty="0" smtClean="0"/>
              <a:t>Case</a:t>
            </a:r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5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 smtClean="0"/>
              <a:t>Insight</a:t>
            </a:r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6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추가 테스트</a:t>
            </a:r>
            <a:endParaRPr kumimoji="1"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6423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9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 smtClean="0"/>
              <a:t>데이터 분석 </a:t>
            </a:r>
            <a:r>
              <a:rPr lang="en-US" altLang="ko-KR" dirty="0" smtClean="0"/>
              <a:t>(1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LSTM</a:t>
            </a:r>
            <a:r>
              <a:rPr lang="ko-KR" altLang="en-US" dirty="0" smtClean="0"/>
              <a:t> 신경망 분석 시스템 개발</a:t>
            </a:r>
            <a:endParaRPr kumimoji="1" lang="ko-KR" altLang="en-US" dirty="0"/>
          </a:p>
        </p:txBody>
      </p:sp>
      <p:cxnSp>
        <p:nvCxnSpPr>
          <p:cNvPr id="8" name="직선 연결선 40"/>
          <p:cNvCxnSpPr/>
          <p:nvPr/>
        </p:nvCxnSpPr>
        <p:spPr>
          <a:xfrm>
            <a:off x="4805587" y="1227659"/>
            <a:ext cx="0" cy="3604457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모서리가 둥근 직사각형 9"/>
          <p:cNvSpPr/>
          <p:nvPr/>
        </p:nvSpPr>
        <p:spPr>
          <a:xfrm>
            <a:off x="1378078" y="1665267"/>
            <a:ext cx="929852" cy="703637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개발환경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GPU1070, Pycharm) </a:t>
            </a:r>
            <a:endParaRPr lang="ko-KR" altLang="en-US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1372262" y="3874802"/>
            <a:ext cx="3318184" cy="453641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raining_ Validation Loss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그래프 출력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EPOCH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확정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: 30)</a:t>
            </a:r>
          </a:p>
        </p:txBody>
      </p:sp>
      <p:sp>
        <p:nvSpPr>
          <p:cNvPr id="12" name="모서리가 둥근 직사각형 11"/>
          <p:cNvSpPr/>
          <p:nvPr/>
        </p:nvSpPr>
        <p:spPr>
          <a:xfrm>
            <a:off x="2386190" y="1665266"/>
            <a:ext cx="1341761" cy="703637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종목별 시세정보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17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년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1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월 이후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대신증권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API)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endParaRPr lang="ko-KR" altLang="en-US" sz="1000" b="1" spc="-6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3771738" y="1665266"/>
            <a:ext cx="918708" cy="696858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LSTM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적용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Python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Keras)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1372262" y="2530586"/>
            <a:ext cx="3318184" cy="1294459"/>
            <a:chOff x="942139" y="4203442"/>
            <a:chExt cx="3311833" cy="1385685"/>
          </a:xfrm>
          <a:solidFill>
            <a:schemeClr val="bg1">
              <a:lumMod val="95000"/>
            </a:schemeClr>
          </a:solidFill>
        </p:grpSpPr>
        <p:sp>
          <p:nvSpPr>
            <p:cNvPr id="15" name="모서리가 둥근 직사각형 14"/>
            <p:cNvSpPr/>
            <p:nvPr/>
          </p:nvSpPr>
          <p:spPr>
            <a:xfrm>
              <a:off x="942139" y="4203442"/>
              <a:ext cx="3311833" cy="1385685"/>
            </a:xfrm>
            <a:prstGeom prst="roundRect">
              <a:avLst>
                <a:gd name="adj" fmla="val 8612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ko-KR" altLang="en-US" sz="1000" b="1" spc="-6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1251436" y="4301228"/>
              <a:ext cx="2778300" cy="121405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anchor="t" anchorCtr="0">
              <a:noAutofit/>
            </a:bodyPr>
            <a:lstStyle/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ko-KR" altLang="en-US" sz="1000" b="1" spc="-60" dirty="0" smtClean="0">
                  <a:latin typeface="+mn-ea"/>
                </a:rPr>
                <a:t> 종목별로 엑셀에 저장 </a:t>
              </a:r>
              <a:r>
                <a:rPr lang="en-US" altLang="ko-KR" sz="1000" b="1" spc="-60" dirty="0" smtClean="0">
                  <a:latin typeface="+mn-ea"/>
                </a:rPr>
                <a:t/>
              </a:r>
              <a:br>
                <a:rPr lang="en-US" altLang="ko-KR" sz="1000" b="1" spc="-60" dirty="0" smtClean="0">
                  <a:latin typeface="+mn-ea"/>
                </a:rPr>
              </a:br>
              <a:r>
                <a:rPr lang="en-US" altLang="ko-KR" sz="1000" b="1" spc="-60" dirty="0" smtClean="0">
                  <a:latin typeface="+mn-ea"/>
                </a:rPr>
                <a:t>  (</a:t>
              </a:r>
              <a:r>
                <a:rPr lang="ko-KR" altLang="en-US" sz="1000" b="1" spc="-60" dirty="0" smtClean="0">
                  <a:latin typeface="+mn-ea"/>
                </a:rPr>
                <a:t>시가</a:t>
              </a:r>
              <a:r>
                <a:rPr lang="en-US" altLang="ko-KR" sz="1000" b="1" spc="-60" dirty="0" smtClean="0">
                  <a:latin typeface="+mn-ea"/>
                </a:rPr>
                <a:t>,</a:t>
              </a:r>
              <a:r>
                <a:rPr lang="ko-KR" altLang="en-US" sz="1000" b="1" spc="-60" dirty="0" smtClean="0">
                  <a:latin typeface="+mn-ea"/>
                </a:rPr>
                <a:t>고가</a:t>
              </a:r>
              <a:r>
                <a:rPr lang="en-US" altLang="ko-KR" sz="1000" b="1" spc="-60" dirty="0" smtClean="0">
                  <a:latin typeface="+mn-ea"/>
                </a:rPr>
                <a:t>,</a:t>
              </a:r>
              <a:r>
                <a:rPr lang="ko-KR" altLang="en-US" sz="1000" b="1" spc="-60" dirty="0" smtClean="0">
                  <a:latin typeface="+mn-ea"/>
                </a:rPr>
                <a:t>저가</a:t>
              </a:r>
              <a:r>
                <a:rPr lang="en-US" altLang="ko-KR" sz="1000" b="1" spc="-60" dirty="0" smtClean="0">
                  <a:latin typeface="+mn-ea"/>
                </a:rPr>
                <a:t>,</a:t>
              </a:r>
              <a:r>
                <a:rPr lang="ko-KR" altLang="en-US" sz="1000" b="1" spc="-60" dirty="0" smtClean="0">
                  <a:latin typeface="+mn-ea"/>
                </a:rPr>
                <a:t>종가</a:t>
              </a:r>
              <a:r>
                <a:rPr lang="en-US" altLang="ko-KR" sz="1000" b="1" spc="-60" dirty="0" smtClean="0">
                  <a:latin typeface="+mn-ea"/>
                </a:rPr>
                <a:t>, </a:t>
              </a:r>
              <a:r>
                <a:rPr lang="ko-KR" altLang="en-US" sz="1000" b="1" spc="-60" dirty="0" smtClean="0">
                  <a:latin typeface="+mn-ea"/>
                </a:rPr>
                <a:t>거래량</a:t>
              </a:r>
              <a:r>
                <a:rPr lang="en-US" altLang="ko-KR" sz="1000" b="1" spc="-60" dirty="0" smtClean="0">
                  <a:latin typeface="+mn-ea"/>
                </a:rPr>
                <a:t>)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US" altLang="ko-KR" sz="1000" b="1" spc="-60" dirty="0" smtClean="0">
                  <a:latin typeface="+mn-ea"/>
                </a:rPr>
                <a:t> MinMax Scaling, Inverse Transform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US" altLang="ko-KR" sz="1000" b="1" spc="-60" dirty="0" smtClean="0">
                  <a:latin typeface="+mn-ea"/>
                </a:rPr>
                <a:t> LSTM </a:t>
              </a:r>
              <a:r>
                <a:rPr lang="ko-KR" altLang="en-US" sz="1000" b="1" spc="-60" dirty="0">
                  <a:latin typeface="+mn-ea"/>
                </a:rPr>
                <a:t>신경망 </a:t>
              </a:r>
              <a:r>
                <a:rPr lang="ko-KR" altLang="en-US" sz="1000" b="1" spc="-60" dirty="0" smtClean="0">
                  <a:latin typeface="+mn-ea"/>
                </a:rPr>
                <a:t>적용</a:t>
              </a:r>
              <a:r>
                <a:rPr lang="en-US" altLang="ko-KR" sz="1000" b="1" spc="-60" dirty="0" smtClean="0">
                  <a:latin typeface="+mn-ea"/>
                </a:rPr>
                <a:t> (Window size </a:t>
              </a:r>
              <a:r>
                <a:rPr lang="ko-KR" altLang="en-US" sz="1000" b="1" spc="-60" dirty="0" smtClean="0">
                  <a:latin typeface="+mn-ea"/>
                </a:rPr>
                <a:t>다각화</a:t>
              </a:r>
              <a:r>
                <a:rPr lang="en-US" altLang="ko-KR" sz="1000" b="1" spc="-60" dirty="0" smtClean="0">
                  <a:latin typeface="+mn-ea"/>
                </a:rPr>
                <a:t>)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ko-KR" altLang="en-US" sz="1000" b="1" spc="-60" dirty="0" smtClean="0">
                  <a:latin typeface="+mn-ea"/>
                </a:rPr>
                <a:t> </a:t>
              </a:r>
              <a:r>
                <a:rPr lang="en-US" altLang="ko-KR" sz="1000" b="1" spc="-60" dirty="0" smtClean="0">
                  <a:latin typeface="+mn-ea"/>
                </a:rPr>
                <a:t>LOSS </a:t>
              </a:r>
              <a:r>
                <a:rPr lang="ko-KR" altLang="en-US" sz="1000" b="1" spc="-60" dirty="0" smtClean="0">
                  <a:latin typeface="+mn-ea"/>
                </a:rPr>
                <a:t>산정</a:t>
              </a:r>
              <a:r>
                <a:rPr lang="en-US" altLang="ko-KR" sz="1000" b="1" spc="-60" dirty="0" smtClean="0">
                  <a:latin typeface="+mn-ea"/>
                </a:rPr>
                <a:t>: Training, Validation (Scaling)</a:t>
              </a:r>
            </a:p>
          </p:txBody>
        </p:sp>
      </p:grpSp>
      <p:sp>
        <p:nvSpPr>
          <p:cNvPr id="17" name="모서리가 둥근 직사각형 16"/>
          <p:cNvSpPr/>
          <p:nvPr/>
        </p:nvSpPr>
        <p:spPr>
          <a:xfrm>
            <a:off x="369967" y="1665267"/>
            <a:ext cx="874730" cy="707221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필요자원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369967" y="2501709"/>
            <a:ext cx="874729" cy="1323335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Data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준비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및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신경망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적용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369965" y="3877471"/>
            <a:ext cx="891995" cy="450972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raining</a:t>
            </a:r>
          </a:p>
        </p:txBody>
      </p:sp>
      <p:sp>
        <p:nvSpPr>
          <p:cNvPr id="20" name="순서도: 수동 연산 52"/>
          <p:cNvSpPr/>
          <p:nvPr/>
        </p:nvSpPr>
        <p:spPr>
          <a:xfrm>
            <a:off x="1575861" y="2376926"/>
            <a:ext cx="2898561" cy="144000"/>
          </a:xfrm>
          <a:prstGeom prst="flowChartManualOperation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000" spc="-6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4950375" y="1586777"/>
            <a:ext cx="1132081" cy="769511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평가 영역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동일한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0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 종목 대상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575794"/>
              </p:ext>
            </p:extLst>
          </p:nvPr>
        </p:nvGraphicFramePr>
        <p:xfrm>
          <a:off x="6104698" y="1665267"/>
          <a:ext cx="2631092" cy="18960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847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4357">
                  <a:extLst>
                    <a:ext uri="{9D8B030D-6E8A-4147-A177-3AD203B41FA5}">
                      <a16:colId xmlns:a16="http://schemas.microsoft.com/office/drawing/2014/main" val="149423217"/>
                    </a:ext>
                  </a:extLst>
                </a:gridCol>
                <a:gridCol w="10419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06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구분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indow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MSE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676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raining </a:t>
                      </a:r>
                    </a:p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0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1783220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5674915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3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1105054"/>
                  </a:ext>
                </a:extLst>
              </a:tr>
              <a:tr h="210676">
                <a:tc rowSpan="4"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est</a:t>
                      </a:r>
                    </a:p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3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5600634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82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9353974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41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18950652"/>
                  </a:ext>
                </a:extLst>
              </a:tr>
            </a:tbl>
          </a:graphicData>
        </a:graphic>
      </p:graphicFrame>
      <p:sp>
        <p:nvSpPr>
          <p:cNvPr id="27" name="텍스트 개체 틀 1"/>
          <p:cNvSpPr txBox="1">
            <a:spLocks/>
          </p:cNvSpPr>
          <p:nvPr/>
        </p:nvSpPr>
        <p:spPr>
          <a:xfrm>
            <a:off x="414533" y="824358"/>
            <a:ext cx="8342730" cy="20268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marR="0" lvl="0" indent="-285750" algn="l" defTabSz="913986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altLang="ko-KR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 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모델을 활용하여 종목별 주가 예측의 정확도를 향상하고자 </a:t>
            </a:r>
            <a:r>
              <a:rPr lang="en-US" altLang="ko-KR" b="1" spc="-60" dirty="0" smtClean="0">
                <a:solidFill>
                  <a:srgbClr val="00B0F0"/>
                </a:solidFill>
                <a:latin typeface="+mn-ea"/>
              </a:rPr>
              <a:t>LSTM </a:t>
            </a:r>
            <a:r>
              <a:rPr lang="ko-KR" altLang="en-US" b="1" spc="-60" dirty="0" smtClean="0">
                <a:solidFill>
                  <a:srgbClr val="00B0F0"/>
                </a:solidFill>
                <a:latin typeface="+mn-ea"/>
              </a:rPr>
              <a:t>신경망 분석 시스템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을 개발함</a:t>
            </a:r>
            <a:r>
              <a:rPr lang="en-US" altLang="ko-KR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</a:t>
            </a:r>
            <a:r>
              <a:rPr kumimoji="0" lang="ko-KR" altLang="en-US" b="1" i="0" u="none" strike="noStrike" kern="1200" cap="none" spc="-6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rPr>
              <a:t> 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0" lang="ko-KR" altLang="en-US" b="1" i="0" u="none" strike="noStrike" kern="1200" cap="none" spc="-6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rPr>
              <a:t>  </a:t>
            </a:r>
            <a:r>
              <a:rPr kumimoji="0" lang="en-US" altLang="ko-KR" b="1" i="0" u="none" strike="noStrike" kern="1200" cap="none" spc="-6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rPr>
              <a:t> </a:t>
            </a:r>
          </a:p>
        </p:txBody>
      </p:sp>
      <p:sp>
        <p:nvSpPr>
          <p:cNvPr id="28" name="모서리가 둥근 직사각형 27"/>
          <p:cNvSpPr/>
          <p:nvPr/>
        </p:nvSpPr>
        <p:spPr>
          <a:xfrm>
            <a:off x="1372262" y="4376156"/>
            <a:ext cx="3318184" cy="453641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전체의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20%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로 산정한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est Set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에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대해 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Prediction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과 실제 결과를 비교함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</a:t>
            </a:r>
          </a:p>
        </p:txBody>
      </p:sp>
      <p:sp>
        <p:nvSpPr>
          <p:cNvPr id="29" name="모서리가 둥근 직사각형 28"/>
          <p:cNvSpPr/>
          <p:nvPr/>
        </p:nvSpPr>
        <p:spPr>
          <a:xfrm>
            <a:off x="369965" y="4378825"/>
            <a:ext cx="891995" cy="441523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Chart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4955265" y="4069778"/>
            <a:ext cx="1143234" cy="51251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차트의 흐름에 대한 평가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021673" y="4076084"/>
            <a:ext cx="263304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가 커질수록 급등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혹은 급락에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대해서는 둔감하게 예측함.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endParaRPr lang="en-US" altLang="ko-KR" sz="11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윈도우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이즈에 관계없이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트렌드 예측가능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34" name="모서리가 둥근 직사각형 33"/>
          <p:cNvSpPr/>
          <p:nvPr/>
        </p:nvSpPr>
        <p:spPr>
          <a:xfrm>
            <a:off x="369965" y="1236181"/>
            <a:ext cx="432048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1.</a:t>
            </a:r>
            <a:r>
              <a:rPr kumimoji="1" lang="ko-KR" altLang="en-US" sz="1200" b="1" dirty="0" smtClean="0"/>
              <a:t> 기술적 적용 과정</a:t>
            </a:r>
            <a:endParaRPr kumimoji="1" lang="ko-KR" altLang="en-US" sz="1200" b="1" dirty="0"/>
          </a:p>
        </p:txBody>
      </p:sp>
      <p:sp>
        <p:nvSpPr>
          <p:cNvPr id="35" name="모서리가 둥근 직사각형 34"/>
          <p:cNvSpPr/>
          <p:nvPr/>
        </p:nvSpPr>
        <p:spPr>
          <a:xfrm>
            <a:off x="4920729" y="1236181"/>
            <a:ext cx="3828370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2.</a:t>
            </a:r>
            <a:r>
              <a:rPr kumimoji="1" lang="ko-KR" altLang="en-US" sz="1200" b="1" dirty="0" smtClean="0"/>
              <a:t> 정량 평가</a:t>
            </a:r>
            <a:endParaRPr kumimoji="1" lang="ko-KR" altLang="en-US" sz="1200" b="1" dirty="0"/>
          </a:p>
        </p:txBody>
      </p:sp>
      <p:sp>
        <p:nvSpPr>
          <p:cNvPr id="36" name="모서리가 둥근 직사각형 35"/>
          <p:cNvSpPr/>
          <p:nvPr/>
        </p:nvSpPr>
        <p:spPr>
          <a:xfrm>
            <a:off x="4920729" y="3714646"/>
            <a:ext cx="3828370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3.</a:t>
            </a:r>
            <a:r>
              <a:rPr kumimoji="1" lang="ko-KR" altLang="en-US" sz="1200" b="1" dirty="0" smtClean="0"/>
              <a:t> 정성 평가</a:t>
            </a:r>
            <a:endParaRPr kumimoji="1"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682854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94</TotalTime>
  <Words>1747</Words>
  <Application>Microsoft Office PowerPoint</Application>
  <PresentationFormat>화면 슬라이드 쇼(16:9)</PresentationFormat>
  <Paragraphs>388</Paragraphs>
  <Slides>2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3</vt:i4>
      </vt:variant>
    </vt:vector>
  </HeadingPairs>
  <TitlesOfParts>
    <vt:vector size="30" baseType="lpstr">
      <vt:lpstr>Mangal</vt:lpstr>
      <vt:lpstr>맑은 고딕</vt:lpstr>
      <vt:lpstr>맑은 고딕</vt:lpstr>
      <vt:lpstr>Arial</vt:lpstr>
      <vt:lpstr>Wingdings</vt:lpstr>
      <vt:lpstr>Office 테마</vt:lpstr>
      <vt:lpstr>think-cell Slide</vt:lpstr>
      <vt:lpstr>LSTM을 이용한  주가예측</vt:lpstr>
      <vt:lpstr>_</vt:lpstr>
      <vt:lpstr>Background &amp; Summary</vt:lpstr>
      <vt:lpstr>1</vt:lpstr>
      <vt:lpstr>금융권의 자산운용서비스에 대한 머신러닝 도입 현황</vt:lpstr>
      <vt:lpstr>신한금융그룹 – 인공지능을 활용한 자본시장 경쟁력 강화 프로젝트</vt:lpstr>
      <vt:lpstr>주식 투자를 위한 기술적 분석 방법론</vt:lpstr>
      <vt:lpstr>2</vt:lpstr>
      <vt:lpstr>데이터 분석 (1) : LSTM 신경망 분석 시스템 개발</vt:lpstr>
      <vt:lpstr>데이터 분석 (2) : 3차원 데이터 준비</vt:lpstr>
      <vt:lpstr>데이터 분석 (3) : 종가 예측 시스템 구축</vt:lpstr>
      <vt:lpstr>결과 분석 (1) : 적정 Epoch 확인</vt:lpstr>
      <vt:lpstr>결과 분석 (2) : 적정 Window 확인</vt:lpstr>
      <vt:lpstr>결과 분석 (3) : Best Case</vt:lpstr>
      <vt:lpstr>결과 분석 (4) : Worst Case</vt:lpstr>
      <vt:lpstr>결과 분석 (5) : Insight</vt:lpstr>
      <vt:lpstr>결과 분석 (6) : 추가 테스트</vt:lpstr>
      <vt:lpstr>3</vt:lpstr>
      <vt:lpstr>Architecture : 1차 시도</vt:lpstr>
      <vt:lpstr>Architecture : 최종 시스템</vt:lpstr>
      <vt:lpstr>UI 디자인</vt:lpstr>
      <vt:lpstr>UI 화면 개발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문서 제목</dc:title>
  <dc:creator>Hannah Song</dc:creator>
  <cp:lastModifiedBy>user</cp:lastModifiedBy>
  <cp:revision>1072</cp:revision>
  <dcterms:created xsi:type="dcterms:W3CDTF">2018-01-20T10:25:07Z</dcterms:created>
  <dcterms:modified xsi:type="dcterms:W3CDTF">2019-03-18T12:4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_SA">
    <vt:lpwstr>C:\Users\kuyngjin\Documents\카카오톡 받은 파일\AmazonEcho final 1.1 (1).pptx</vt:lpwstr>
  </property>
</Properties>
</file>